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93455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259" r:id="rId7"/>
    <p:sldId id="267" r:id="rId8"/>
    <p:sldId id="270" r:id="rId9"/>
    <p:sldId id="272" r:id="rId10"/>
    <p:sldId id="273" r:id="rId11"/>
    <p:sldId id="271" r:id="rId12"/>
    <p:sldId id="274" r:id="rId13"/>
    <p:sldId id="275" r:id="rId14"/>
    <p:sldId id="279" r:id="rId15"/>
    <p:sldId id="278" r:id="rId16"/>
    <p:sldId id="280" r:id="rId17"/>
    <p:sldId id="281" r:id="rId18"/>
    <p:sldId id="276" r:id="rId19"/>
    <p:sldId id="277" r:id="rId20"/>
    <p:sldId id="260" r:id="rId21"/>
    <p:sldId id="264" r:id="rId22"/>
    <p:sldId id="263" r:id="rId23"/>
  </p:sldIdLst>
  <p:sldSz cx="12192000" cy="6858000"/>
  <p:notesSz cx="6805613" cy="9939338"/>
  <p:custDataLst>
    <p:tags r:id="rId26"/>
  </p:custDataLst>
  <p:defaultTextStyle>
    <a:defPPr>
      <a:defRPr lang="en-US"/>
    </a:defPPr>
    <a:lvl1pPr marL="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393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786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18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57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696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357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575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14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FBA2C438-A406-4D32-8E1A-DC4A692BCB94}">
          <p14:sldIdLst>
            <p14:sldId id="256"/>
            <p14:sldId id="257"/>
            <p14:sldId id="259"/>
          </p14:sldIdLst>
        </p14:section>
        <p14:section name="Go introduced" id="{A326A0D1-E7E9-4042-BBF1-7B082A291B78}">
          <p14:sldIdLst>
            <p14:sldId id="267"/>
            <p14:sldId id="270"/>
            <p14:sldId id="272"/>
            <p14:sldId id="273"/>
            <p14:sldId id="271"/>
            <p14:sldId id="274"/>
          </p14:sldIdLst>
        </p14:section>
        <p14:section name="Microservice basics" id="{58AA4FA3-AE19-4FD2-92C0-2B76B58DD6BC}">
          <p14:sldIdLst>
            <p14:sldId id="275"/>
            <p14:sldId id="279"/>
            <p14:sldId id="278"/>
          </p14:sldIdLst>
        </p14:section>
        <p14:section name="Implement a go service" id="{7014F730-3337-4C72-85B6-DA909950A57F}">
          <p14:sldIdLst>
            <p14:sldId id="280"/>
            <p14:sldId id="281"/>
            <p14:sldId id="276"/>
            <p14:sldId id="277"/>
          </p14:sldIdLst>
        </p14:section>
        <p14:section name="Erklärungsfolien" id="{7421DB15-0944-4194-A22D-9AC828BA0DDB}">
          <p14:sldIdLst>
            <p14:sldId id="260"/>
            <p14:sldId id="264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22" orient="horz" pos="5504" userDrawn="1">
          <p15:clr>
            <a:srgbClr val="A4A3A4"/>
          </p15:clr>
        </p15:guide>
        <p15:guide id="2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918">
          <p15:clr>
            <a:srgbClr val="A4A3A4"/>
          </p15:clr>
        </p15:guide>
        <p15:guide id="4" orient="horz" pos="2779">
          <p15:clr>
            <a:srgbClr val="A4A3A4"/>
          </p15:clr>
        </p15:guide>
        <p15:guide id="5" orient="horz" pos="431">
          <p15:clr>
            <a:srgbClr val="A4A3A4"/>
          </p15:clr>
        </p15:guide>
        <p15:guide id="6" orient="horz" pos="5793">
          <p15:clr>
            <a:srgbClr val="A4A3A4"/>
          </p15:clr>
        </p15:guide>
        <p15:guide id="7" orient="horz" pos="5966">
          <p15:clr>
            <a:srgbClr val="A4A3A4"/>
          </p15:clr>
        </p15:guide>
        <p15:guide id="8" orient="horz" pos="6089">
          <p15:clr>
            <a:srgbClr val="A4A3A4"/>
          </p15:clr>
        </p15:guide>
        <p15:guide id="9" orient="horz" pos="318">
          <p15:clr>
            <a:srgbClr val="A4A3A4"/>
          </p15:clr>
        </p15:guide>
        <p15:guide id="10" orient="horz" pos="197">
          <p15:clr>
            <a:srgbClr val="A4A3A4"/>
          </p15:clr>
        </p15:guide>
        <p15:guide id="11" pos="591">
          <p15:clr>
            <a:srgbClr val="A4A3A4"/>
          </p15:clr>
        </p15:guide>
        <p15:guide id="12" pos="3719">
          <p15:clr>
            <a:srgbClr val="A4A3A4"/>
          </p15:clr>
        </p15:guide>
        <p15:guide id="13" orient="horz" pos="2200">
          <p15:clr>
            <a:srgbClr val="A4A3A4"/>
          </p15:clr>
        </p15:guide>
        <p15:guide id="14" orient="horz" pos="2518">
          <p15:clr>
            <a:srgbClr val="A4A3A4"/>
          </p15:clr>
        </p15:guide>
        <p15:guide id="15" orient="horz" pos="24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8CB93-72AF-4B7A-B805-8FA3DC21B429}" v="50" dt="2021-03-29T11:52:25.344"/>
  </p1510:revLst>
</p1510:revInfo>
</file>

<file path=ppt/tableStyles.xml><?xml version="1.0" encoding="utf-8"?>
<a:tblStyleLst xmlns:a="http://schemas.openxmlformats.org/drawingml/2006/main" def="{E8B1032C-EA38-4F05-BA0D-38AFFFC7BED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214" autoAdjust="0"/>
  </p:normalViewPr>
  <p:slideViewPr>
    <p:cSldViewPr snapToObjects="1">
      <p:cViewPr varScale="1">
        <p:scale>
          <a:sx n="114" d="100"/>
          <a:sy n="114" d="100"/>
        </p:scale>
        <p:origin x="414" y="-12"/>
      </p:cViewPr>
      <p:guideLst>
        <p:guide orient="horz" pos="550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Objects="1" showGuides="1">
      <p:cViewPr>
        <p:scale>
          <a:sx n="125" d="100"/>
          <a:sy n="125" d="100"/>
        </p:scale>
        <p:origin x="2967" y="-531"/>
      </p:cViewPr>
      <p:guideLst>
        <p:guide orient="horz" pos="2160"/>
        <p:guide pos="2880"/>
        <p:guide orient="horz" pos="2918"/>
        <p:guide orient="horz" pos="2779"/>
        <p:guide orient="horz" pos="431"/>
        <p:guide orient="horz" pos="5793"/>
        <p:guide orient="horz" pos="5966"/>
        <p:guide orient="horz" pos="6089"/>
        <p:guide orient="horz" pos="318"/>
        <p:guide orient="horz" pos="197"/>
        <p:guide pos="591"/>
        <p:guide pos="3719"/>
        <p:guide orient="horz" pos="2200"/>
        <p:guide orient="horz" pos="2518"/>
        <p:guide orient="horz" pos="24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chen Grün (ISO)" userId="88af28a8-8d87-4808-ab0d-95c5adee42cd" providerId="ADAL" clId="{BAA8CB93-72AF-4B7A-B805-8FA3DC21B429}"/>
    <pc:docChg chg="undo custSel addSld delSld modSld sldOrd addSection delSection modSection">
      <pc:chgData name="Jochen Grün (ISO)" userId="88af28a8-8d87-4808-ab0d-95c5adee42cd" providerId="ADAL" clId="{BAA8CB93-72AF-4B7A-B805-8FA3DC21B429}" dt="2021-03-29T11:53:17.586" v="4881" actId="20577"/>
      <pc:docMkLst>
        <pc:docMk/>
      </pc:docMkLst>
      <pc:sldChg chg="modSp mod">
        <pc:chgData name="Jochen Grün (ISO)" userId="88af28a8-8d87-4808-ab0d-95c5adee42cd" providerId="ADAL" clId="{BAA8CB93-72AF-4B7A-B805-8FA3DC21B429}" dt="2021-03-09T08:54:32.756" v="77" actId="20577"/>
        <pc:sldMkLst>
          <pc:docMk/>
          <pc:sldMk cId="84961126" sldId="257"/>
        </pc:sldMkLst>
        <pc:spChg chg="mod">
          <ac:chgData name="Jochen Grün (ISO)" userId="88af28a8-8d87-4808-ab0d-95c5adee42cd" providerId="ADAL" clId="{BAA8CB93-72AF-4B7A-B805-8FA3DC21B429}" dt="2021-03-09T08:54:25.126" v="56" actId="6549"/>
          <ac:spMkLst>
            <pc:docMk/>
            <pc:sldMk cId="84961126" sldId="257"/>
            <ac:spMk id="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8:15:07.416" v="35" actId="20577"/>
          <ac:spMkLst>
            <pc:docMk/>
            <pc:sldMk cId="84961126" sldId="257"/>
            <ac:spMk id="3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8:54:32.756" v="77" actId="20577"/>
          <ac:spMkLst>
            <pc:docMk/>
            <pc:sldMk cId="84961126" sldId="257"/>
            <ac:spMk id="4" creationId="{00000000-0000-0000-0000-000000000000}"/>
          </ac:spMkLst>
        </pc:spChg>
      </pc:sldChg>
      <pc:sldChg chg="modSp mod">
        <pc:chgData name="Jochen Grün (ISO)" userId="88af28a8-8d87-4808-ab0d-95c5adee42cd" providerId="ADAL" clId="{BAA8CB93-72AF-4B7A-B805-8FA3DC21B429}" dt="2021-03-29T08:08:33.269" v="4793" actId="6549"/>
        <pc:sldMkLst>
          <pc:docMk/>
          <pc:sldMk cId="4046527789" sldId="259"/>
        </pc:sldMkLst>
        <pc:spChg chg="mod">
          <ac:chgData name="Jochen Grün (ISO)" userId="88af28a8-8d87-4808-ab0d-95c5adee42cd" providerId="ADAL" clId="{BAA8CB93-72AF-4B7A-B805-8FA3DC21B429}" dt="2021-03-29T08:08:33.269" v="4793" actId="6549"/>
          <ac:spMkLst>
            <pc:docMk/>
            <pc:sldMk cId="4046527789" sldId="259"/>
            <ac:spMk id="7" creationId="{00000000-0000-0000-0000-000000000000}"/>
          </ac:spMkLst>
        </pc:spChg>
      </pc:sldChg>
      <pc:sldChg chg="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1798307320" sldId="261"/>
        </pc:sldMkLst>
      </pc:sldChg>
      <pc:sldChg chg="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1407793980" sldId="262"/>
        </pc:sldMkLst>
      </pc:sldChg>
      <pc:sldChg chg="del">
        <pc:chgData name="Jochen Grün (ISO)" userId="88af28a8-8d87-4808-ab0d-95c5adee42cd" providerId="ADAL" clId="{BAA8CB93-72AF-4B7A-B805-8FA3DC21B429}" dt="2021-03-09T08:54:38.667" v="78" actId="47"/>
        <pc:sldMkLst>
          <pc:docMk/>
          <pc:sldMk cId="989129646" sldId="266"/>
        </pc:sldMkLst>
      </pc:sldChg>
      <pc:sldChg chg="modSp mod">
        <pc:chgData name="Jochen Grün (ISO)" userId="88af28a8-8d87-4808-ab0d-95c5adee42cd" providerId="ADAL" clId="{BAA8CB93-72AF-4B7A-B805-8FA3DC21B429}" dt="2021-03-09T09:16:13.399" v="736" actId="20577"/>
        <pc:sldMkLst>
          <pc:docMk/>
          <pc:sldMk cId="3476204507" sldId="267"/>
        </pc:sldMkLst>
        <pc:spChg chg="mod">
          <ac:chgData name="Jochen Grün (ISO)" userId="88af28a8-8d87-4808-ab0d-95c5adee42cd" providerId="ADAL" clId="{BAA8CB93-72AF-4B7A-B805-8FA3DC21B429}" dt="2021-03-09T09:16:13.399" v="736" actId="20577"/>
          <ac:spMkLst>
            <pc:docMk/>
            <pc:sldMk cId="3476204507" sldId="267"/>
            <ac:spMk id="1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9:10:51.506" v="581" actId="313"/>
          <ac:spMkLst>
            <pc:docMk/>
            <pc:sldMk cId="3476204507" sldId="267"/>
            <ac:spMk id="20" creationId="{00000000-0000-0000-0000-000000000000}"/>
          </ac:spMkLst>
        </pc:spChg>
      </pc:sldChg>
      <pc:sldChg chg="add 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336388165" sldId="268"/>
        </pc:sldMkLst>
      </pc:sldChg>
      <pc:sldChg chg="new del">
        <pc:chgData name="Jochen Grün (ISO)" userId="88af28a8-8d87-4808-ab0d-95c5adee42cd" providerId="ADAL" clId="{BAA8CB93-72AF-4B7A-B805-8FA3DC21B429}" dt="2021-03-09T08:57:35.960" v="283" actId="47"/>
        <pc:sldMkLst>
          <pc:docMk/>
          <pc:sldMk cId="2536871133" sldId="268"/>
        </pc:sldMkLst>
      </pc:sldChg>
      <pc:sldChg chg="modSp new del mod">
        <pc:chgData name="Jochen Grün (ISO)" userId="88af28a8-8d87-4808-ab0d-95c5adee42cd" providerId="ADAL" clId="{BAA8CB93-72AF-4B7A-B805-8FA3DC21B429}" dt="2021-03-29T10:23:07.665" v="4797" actId="47"/>
        <pc:sldMkLst>
          <pc:docMk/>
          <pc:sldMk cId="3037371977" sldId="269"/>
        </pc:sldMkLst>
        <pc:spChg chg="mod">
          <ac:chgData name="Jochen Grün (ISO)" userId="88af28a8-8d87-4808-ab0d-95c5adee42cd" providerId="ADAL" clId="{BAA8CB93-72AF-4B7A-B805-8FA3DC21B429}" dt="2021-03-10T06:58:38.095" v="796" actId="20577"/>
          <ac:spMkLst>
            <pc:docMk/>
            <pc:sldMk cId="3037371977" sldId="269"/>
            <ac:spMk id="2" creationId="{ED18F5FB-DFAF-4392-8C4B-793940041213}"/>
          </ac:spMkLst>
        </pc:spChg>
      </pc:sldChg>
      <pc:sldChg chg="addSp delSp modSp new mod">
        <pc:chgData name="Jochen Grün (ISO)" userId="88af28a8-8d87-4808-ab0d-95c5adee42cd" providerId="ADAL" clId="{BAA8CB93-72AF-4B7A-B805-8FA3DC21B429}" dt="2021-03-10T07:12:55.643" v="868" actId="313"/>
        <pc:sldMkLst>
          <pc:docMk/>
          <pc:sldMk cId="406116970" sldId="270"/>
        </pc:sldMkLst>
        <pc:spChg chg="del mod">
          <ac:chgData name="Jochen Grün (ISO)" userId="88af28a8-8d87-4808-ab0d-95c5adee42cd" providerId="ADAL" clId="{BAA8CB93-72AF-4B7A-B805-8FA3DC21B429}" dt="2021-03-10T07:11:22.128" v="855" actId="478"/>
          <ac:spMkLst>
            <pc:docMk/>
            <pc:sldMk cId="406116970" sldId="270"/>
            <ac:spMk id="2" creationId="{E5CC4F6D-33CF-42C3-A9F7-0E72D6AC098B}"/>
          </ac:spMkLst>
        </pc:spChg>
        <pc:spChg chg="mod">
          <ac:chgData name="Jochen Grün (ISO)" userId="88af28a8-8d87-4808-ab0d-95c5adee42cd" providerId="ADAL" clId="{BAA8CB93-72AF-4B7A-B805-8FA3DC21B429}" dt="2021-03-10T07:12:55.643" v="868" actId="313"/>
          <ac:spMkLst>
            <pc:docMk/>
            <pc:sldMk cId="406116970" sldId="270"/>
            <ac:spMk id="7" creationId="{DF59C516-515A-4AF8-9F69-4CA3558CB085}"/>
          </ac:spMkLst>
        </pc:spChg>
        <pc:picChg chg="add mod">
          <ac:chgData name="Jochen Grün (ISO)" userId="88af28a8-8d87-4808-ab0d-95c5adee42cd" providerId="ADAL" clId="{BAA8CB93-72AF-4B7A-B805-8FA3DC21B429}" dt="2021-03-10T07:12:44.907" v="864" actId="1076"/>
          <ac:picMkLst>
            <pc:docMk/>
            <pc:sldMk cId="406116970" sldId="270"/>
            <ac:picMk id="8" creationId="{A6A1F346-44FF-4142-A3A4-86B184BE13C9}"/>
          </ac:picMkLst>
        </pc:picChg>
        <pc:picChg chg="add del mod">
          <ac:chgData name="Jochen Grün (ISO)" userId="88af28a8-8d87-4808-ab0d-95c5adee42cd" providerId="ADAL" clId="{BAA8CB93-72AF-4B7A-B805-8FA3DC21B429}" dt="2021-03-10T07:12:21.249" v="860" actId="478"/>
          <ac:picMkLst>
            <pc:docMk/>
            <pc:sldMk cId="406116970" sldId="270"/>
            <ac:picMk id="9" creationId="{7341BAFA-0CBE-48BF-BEC0-74008913D340}"/>
          </ac:picMkLst>
        </pc:picChg>
        <pc:picChg chg="add mod">
          <ac:chgData name="Jochen Grün (ISO)" userId="88af28a8-8d87-4808-ab0d-95c5adee42cd" providerId="ADAL" clId="{BAA8CB93-72AF-4B7A-B805-8FA3DC21B429}" dt="2021-03-10T07:12:26.303" v="862" actId="1076"/>
          <ac:picMkLst>
            <pc:docMk/>
            <pc:sldMk cId="406116970" sldId="270"/>
            <ac:picMk id="10" creationId="{D4D1C0C0-E2F3-45E7-9F83-1DCD0AFB73DA}"/>
          </ac:picMkLst>
        </pc:picChg>
      </pc:sldChg>
      <pc:sldChg chg="modSp new mod">
        <pc:chgData name="Jochen Grün (ISO)" userId="88af28a8-8d87-4808-ab0d-95c5adee42cd" providerId="ADAL" clId="{BAA8CB93-72AF-4B7A-B805-8FA3DC21B429}" dt="2021-03-29T11:53:17.586" v="4881" actId="20577"/>
        <pc:sldMkLst>
          <pc:docMk/>
          <pc:sldMk cId="2700646792" sldId="271"/>
        </pc:sldMkLst>
        <pc:spChg chg="mod">
          <ac:chgData name="Jochen Grün (ISO)" userId="88af28a8-8d87-4808-ab0d-95c5adee42cd" providerId="ADAL" clId="{BAA8CB93-72AF-4B7A-B805-8FA3DC21B429}" dt="2021-03-29T11:53:17.586" v="4881" actId="20577"/>
          <ac:spMkLst>
            <pc:docMk/>
            <pc:sldMk cId="2700646792" sldId="271"/>
            <ac:spMk id="2" creationId="{83208DC2-F530-4691-9476-F2E42EA0176A}"/>
          </ac:spMkLst>
        </pc:spChg>
        <pc:spChg chg="mod">
          <ac:chgData name="Jochen Grün (ISO)" userId="88af28a8-8d87-4808-ab0d-95c5adee42cd" providerId="ADAL" clId="{BAA8CB93-72AF-4B7A-B805-8FA3DC21B429}" dt="2021-03-12T08:44:01.278" v="879" actId="20577"/>
          <ac:spMkLst>
            <pc:docMk/>
            <pc:sldMk cId="2700646792" sldId="271"/>
            <ac:spMk id="7" creationId="{45C35AED-8839-4A0E-A8C2-BF8A4BC9BD39}"/>
          </ac:spMkLst>
        </pc:spChg>
      </pc:sldChg>
      <pc:sldChg chg="modSp new mod">
        <pc:chgData name="Jochen Grün (ISO)" userId="88af28a8-8d87-4808-ab0d-95c5adee42cd" providerId="ADAL" clId="{BAA8CB93-72AF-4B7A-B805-8FA3DC21B429}" dt="2021-03-12T09:05:13.527" v="2109" actId="20577"/>
        <pc:sldMkLst>
          <pc:docMk/>
          <pc:sldMk cId="2138001812" sldId="272"/>
        </pc:sldMkLst>
        <pc:spChg chg="mod">
          <ac:chgData name="Jochen Grün (ISO)" userId="88af28a8-8d87-4808-ab0d-95c5adee42cd" providerId="ADAL" clId="{BAA8CB93-72AF-4B7A-B805-8FA3DC21B429}" dt="2021-03-12T09:05:13.527" v="2109" actId="20577"/>
          <ac:spMkLst>
            <pc:docMk/>
            <pc:sldMk cId="2138001812" sldId="272"/>
            <ac:spMk id="2" creationId="{D85A0810-21B7-4F31-B88B-4A8FD3389F56}"/>
          </ac:spMkLst>
        </pc:spChg>
        <pc:spChg chg="mod">
          <ac:chgData name="Jochen Grün (ISO)" userId="88af28a8-8d87-4808-ab0d-95c5adee42cd" providerId="ADAL" clId="{BAA8CB93-72AF-4B7A-B805-8FA3DC21B429}" dt="2021-03-12T08:46:26.321" v="1108" actId="20577"/>
          <ac:spMkLst>
            <pc:docMk/>
            <pc:sldMk cId="2138001812" sldId="272"/>
            <ac:spMk id="7" creationId="{7C1F98F7-1E5F-405D-8EB9-2A53AD6F343B}"/>
          </ac:spMkLst>
        </pc:spChg>
      </pc:sldChg>
      <pc:sldChg chg="modSp new mod ord">
        <pc:chgData name="Jochen Grün (ISO)" userId="88af28a8-8d87-4808-ab0d-95c5adee42cd" providerId="ADAL" clId="{BAA8CB93-72AF-4B7A-B805-8FA3DC21B429}" dt="2021-03-12T09:04:55.602" v="2105" actId="20577"/>
        <pc:sldMkLst>
          <pc:docMk/>
          <pc:sldMk cId="938989098" sldId="273"/>
        </pc:sldMkLst>
        <pc:spChg chg="mod">
          <ac:chgData name="Jochen Grün (ISO)" userId="88af28a8-8d87-4808-ab0d-95c5adee42cd" providerId="ADAL" clId="{BAA8CB93-72AF-4B7A-B805-8FA3DC21B429}" dt="2021-03-12T09:04:55.602" v="2105" actId="20577"/>
          <ac:spMkLst>
            <pc:docMk/>
            <pc:sldMk cId="938989098" sldId="273"/>
            <ac:spMk id="2" creationId="{AA3F5A86-F022-4C21-9E1B-20FFE2EE76C8}"/>
          </ac:spMkLst>
        </pc:spChg>
        <pc:spChg chg="mod">
          <ac:chgData name="Jochen Grün (ISO)" userId="88af28a8-8d87-4808-ab0d-95c5adee42cd" providerId="ADAL" clId="{BAA8CB93-72AF-4B7A-B805-8FA3DC21B429}" dt="2021-03-12T09:03:39.476" v="1946" actId="20577"/>
          <ac:spMkLst>
            <pc:docMk/>
            <pc:sldMk cId="938989098" sldId="273"/>
            <ac:spMk id="7" creationId="{42F15420-2F83-422D-92CF-44D0793F52AB}"/>
          </ac:spMkLst>
        </pc:spChg>
      </pc:sldChg>
      <pc:sldChg chg="addSp modSp add mod">
        <pc:chgData name="Jochen Grün (ISO)" userId="88af28a8-8d87-4808-ab0d-95c5adee42cd" providerId="ADAL" clId="{BAA8CB93-72AF-4B7A-B805-8FA3DC21B429}" dt="2021-03-15T05:47:20.987" v="2575" actId="20577"/>
        <pc:sldMkLst>
          <pc:docMk/>
          <pc:sldMk cId="2163039191" sldId="274"/>
        </pc:sldMkLst>
        <pc:spChg chg="mod">
          <ac:chgData name="Jochen Grün (ISO)" userId="88af28a8-8d87-4808-ab0d-95c5adee42cd" providerId="ADAL" clId="{BAA8CB93-72AF-4B7A-B805-8FA3DC21B429}" dt="2021-03-15T05:47:20.987" v="2575" actId="20577"/>
          <ac:spMkLst>
            <pc:docMk/>
            <pc:sldMk cId="2163039191" sldId="274"/>
            <ac:spMk id="2" creationId="{83208DC2-F530-4691-9476-F2E42EA0176A}"/>
          </ac:spMkLst>
        </pc:spChg>
        <pc:spChg chg="mod">
          <ac:chgData name="Jochen Grün (ISO)" userId="88af28a8-8d87-4808-ab0d-95c5adee42cd" providerId="ADAL" clId="{BAA8CB93-72AF-4B7A-B805-8FA3DC21B429}" dt="2021-03-15T05:39:21.809" v="2124" actId="20577"/>
          <ac:spMkLst>
            <pc:docMk/>
            <pc:sldMk cId="2163039191" sldId="274"/>
            <ac:spMk id="7" creationId="{45C35AED-8839-4A0E-A8C2-BF8A4BC9BD39}"/>
          </ac:spMkLst>
        </pc:spChg>
        <pc:picChg chg="add mod">
          <ac:chgData name="Jochen Grün (ISO)" userId="88af28a8-8d87-4808-ab0d-95c5adee42cd" providerId="ADAL" clId="{BAA8CB93-72AF-4B7A-B805-8FA3DC21B429}" dt="2021-03-15T05:44:45.725" v="2434" actId="1076"/>
          <ac:picMkLst>
            <pc:docMk/>
            <pc:sldMk cId="2163039191" sldId="274"/>
            <ac:picMk id="8" creationId="{28481313-A05D-4A33-888C-3B769C8AAEDD}"/>
          </ac:picMkLst>
        </pc:picChg>
      </pc:sldChg>
      <pc:sldChg chg="modSp add mod">
        <pc:chgData name="Jochen Grün (ISO)" userId="88af28a8-8d87-4808-ab0d-95c5adee42cd" providerId="ADAL" clId="{BAA8CB93-72AF-4B7A-B805-8FA3DC21B429}" dt="2021-03-15T06:05:08.531" v="3982" actId="21"/>
        <pc:sldMkLst>
          <pc:docMk/>
          <pc:sldMk cId="1131073763" sldId="275"/>
        </pc:sldMkLst>
        <pc:spChg chg="mod">
          <ac:chgData name="Jochen Grün (ISO)" userId="88af28a8-8d87-4808-ab0d-95c5adee42cd" providerId="ADAL" clId="{BAA8CB93-72AF-4B7A-B805-8FA3DC21B429}" dt="2021-03-15T06:05:08.531" v="3982" actId="21"/>
          <ac:spMkLst>
            <pc:docMk/>
            <pc:sldMk cId="1131073763" sldId="275"/>
            <ac:spMk id="1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15T05:49:09.904" v="2602" actId="20577"/>
          <ac:spMkLst>
            <pc:docMk/>
            <pc:sldMk cId="1131073763" sldId="275"/>
            <ac:spMk id="20" creationId="{00000000-0000-0000-0000-000000000000}"/>
          </ac:spMkLst>
        </pc:spChg>
      </pc:sldChg>
      <pc:sldChg chg="add">
        <pc:chgData name="Jochen Grün (ISO)" userId="88af28a8-8d87-4808-ab0d-95c5adee42cd" providerId="ADAL" clId="{BAA8CB93-72AF-4B7A-B805-8FA3DC21B429}" dt="2021-03-15T05:48:53.584" v="2578"/>
        <pc:sldMkLst>
          <pc:docMk/>
          <pc:sldMk cId="1359432118" sldId="276"/>
        </pc:sldMkLst>
      </pc:sldChg>
      <pc:sldChg chg="add">
        <pc:chgData name="Jochen Grün (ISO)" userId="88af28a8-8d87-4808-ab0d-95c5adee42cd" providerId="ADAL" clId="{BAA8CB93-72AF-4B7A-B805-8FA3DC21B429}" dt="2021-03-15T05:48:53.584" v="2578"/>
        <pc:sldMkLst>
          <pc:docMk/>
          <pc:sldMk cId="1313454330" sldId="277"/>
        </pc:sldMkLst>
      </pc:sldChg>
      <pc:sldChg chg="modSp add mod">
        <pc:chgData name="Jochen Grün (ISO)" userId="88af28a8-8d87-4808-ab0d-95c5adee42cd" providerId="ADAL" clId="{BAA8CB93-72AF-4B7A-B805-8FA3DC21B429}" dt="2021-03-15T06:01:29.755" v="3662" actId="5793"/>
        <pc:sldMkLst>
          <pc:docMk/>
          <pc:sldMk cId="4236185673" sldId="278"/>
        </pc:sldMkLst>
        <pc:spChg chg="mod">
          <ac:chgData name="Jochen Grün (ISO)" userId="88af28a8-8d87-4808-ab0d-95c5adee42cd" providerId="ADAL" clId="{BAA8CB93-72AF-4B7A-B805-8FA3DC21B429}" dt="2021-03-15T06:01:29.755" v="3662" actId="5793"/>
          <ac:spMkLst>
            <pc:docMk/>
            <pc:sldMk cId="4236185673" sldId="278"/>
            <ac:spMk id="12" creationId="{00000000-0000-0000-0000-000000000000}"/>
          </ac:spMkLst>
        </pc:spChg>
      </pc:sldChg>
      <pc:sldChg chg="modSp new mod">
        <pc:chgData name="Jochen Grün (ISO)" userId="88af28a8-8d87-4808-ab0d-95c5adee42cd" providerId="ADAL" clId="{BAA8CB93-72AF-4B7A-B805-8FA3DC21B429}" dt="2021-03-15T06:05:39.748" v="4039" actId="20577"/>
        <pc:sldMkLst>
          <pc:docMk/>
          <pc:sldMk cId="1607626914" sldId="279"/>
        </pc:sldMkLst>
        <pc:spChg chg="mod">
          <ac:chgData name="Jochen Grün (ISO)" userId="88af28a8-8d87-4808-ab0d-95c5adee42cd" providerId="ADAL" clId="{BAA8CB93-72AF-4B7A-B805-8FA3DC21B429}" dt="2021-03-15T06:05:10.209" v="3983"/>
          <ac:spMkLst>
            <pc:docMk/>
            <pc:sldMk cId="1607626914" sldId="279"/>
            <ac:spMk id="2" creationId="{E28A2183-B446-4C59-852A-6CFCC6033758}"/>
          </ac:spMkLst>
        </pc:spChg>
        <pc:spChg chg="mod">
          <ac:chgData name="Jochen Grün (ISO)" userId="88af28a8-8d87-4808-ab0d-95c5adee42cd" providerId="ADAL" clId="{BAA8CB93-72AF-4B7A-B805-8FA3DC21B429}" dt="2021-03-15T06:05:39.748" v="4039" actId="20577"/>
          <ac:spMkLst>
            <pc:docMk/>
            <pc:sldMk cId="1607626914" sldId="279"/>
            <ac:spMk id="7" creationId="{E6F15F24-3FC3-4CE5-B35B-9EC87EB04829}"/>
          </ac:spMkLst>
        </pc:spChg>
      </pc:sldChg>
      <pc:sldChg chg="add del">
        <pc:chgData name="Jochen Grün (ISO)" userId="88af28a8-8d87-4808-ab0d-95c5adee42cd" providerId="ADAL" clId="{BAA8CB93-72AF-4B7A-B805-8FA3DC21B429}" dt="2021-03-15T05:49:25.619" v="2641"/>
        <pc:sldMkLst>
          <pc:docMk/>
          <pc:sldMk cId="2355436002" sldId="279"/>
        </pc:sldMkLst>
      </pc:sldChg>
      <pc:sldChg chg="addSp modSp new mod">
        <pc:chgData name="Jochen Grün (ISO)" userId="88af28a8-8d87-4808-ab0d-95c5adee42cd" providerId="ADAL" clId="{BAA8CB93-72AF-4B7A-B805-8FA3DC21B429}" dt="2021-03-16T14:43:18.368" v="4489" actId="1037"/>
        <pc:sldMkLst>
          <pc:docMk/>
          <pc:sldMk cId="1760532454" sldId="280"/>
        </pc:sldMkLst>
        <pc:spChg chg="mod">
          <ac:chgData name="Jochen Grün (ISO)" userId="88af28a8-8d87-4808-ab0d-95c5adee42cd" providerId="ADAL" clId="{BAA8CB93-72AF-4B7A-B805-8FA3DC21B429}" dt="2021-03-16T14:38:09.530" v="4329" actId="14100"/>
          <ac:spMkLst>
            <pc:docMk/>
            <pc:sldMk cId="1760532454" sldId="280"/>
            <ac:spMk id="2" creationId="{7BD8B8E5-2DCA-4F55-B5E0-9928B11BE25A}"/>
          </ac:spMkLst>
        </pc:spChg>
        <pc:spChg chg="mod">
          <ac:chgData name="Jochen Grün (ISO)" userId="88af28a8-8d87-4808-ab0d-95c5adee42cd" providerId="ADAL" clId="{BAA8CB93-72AF-4B7A-B805-8FA3DC21B429}" dt="2021-03-16T14:15:27.071" v="4061" actId="20577"/>
          <ac:spMkLst>
            <pc:docMk/>
            <pc:sldMk cId="1760532454" sldId="280"/>
            <ac:spMk id="7" creationId="{5FE00A5B-7EC6-4556-93EC-537B3153A2CD}"/>
          </ac:spMkLst>
        </pc:spChg>
        <pc:spChg chg="add mod">
          <ac:chgData name="Jochen Grün (ISO)" userId="88af28a8-8d87-4808-ab0d-95c5adee42cd" providerId="ADAL" clId="{BAA8CB93-72AF-4B7A-B805-8FA3DC21B429}" dt="2021-03-16T14:39:37.288" v="4359" actId="1076"/>
          <ac:spMkLst>
            <pc:docMk/>
            <pc:sldMk cId="1760532454" sldId="280"/>
            <ac:spMk id="8" creationId="{AAD36CCC-68BD-487B-8E6D-FF1D33976304}"/>
          </ac:spMkLst>
        </pc:spChg>
        <pc:spChg chg="add mod ord">
          <ac:chgData name="Jochen Grün (ISO)" userId="88af28a8-8d87-4808-ab0d-95c5adee42cd" providerId="ADAL" clId="{BAA8CB93-72AF-4B7A-B805-8FA3DC21B429}" dt="2021-03-16T14:39:49.837" v="4371" actId="14100"/>
          <ac:spMkLst>
            <pc:docMk/>
            <pc:sldMk cId="1760532454" sldId="280"/>
            <ac:spMk id="9" creationId="{F1C52CBB-CBD8-4A3E-ABBC-97677586DE7A}"/>
          </ac:spMkLst>
        </pc:spChg>
        <pc:spChg chg="add mod">
          <ac:chgData name="Jochen Grün (ISO)" userId="88af28a8-8d87-4808-ab0d-95c5adee42cd" providerId="ADAL" clId="{BAA8CB93-72AF-4B7A-B805-8FA3DC21B429}" dt="2021-03-16T14:39:55.150" v="4372" actId="1076"/>
          <ac:spMkLst>
            <pc:docMk/>
            <pc:sldMk cId="1760532454" sldId="280"/>
            <ac:spMk id="10" creationId="{9290276C-5BD3-4D85-AFC0-4480FC0B4FBA}"/>
          </ac:spMkLst>
        </pc:spChg>
        <pc:spChg chg="add mod">
          <ac:chgData name="Jochen Grün (ISO)" userId="88af28a8-8d87-4808-ab0d-95c5adee42cd" providerId="ADAL" clId="{BAA8CB93-72AF-4B7A-B805-8FA3DC21B429}" dt="2021-03-16T14:43:00.122" v="4483" actId="20577"/>
          <ac:spMkLst>
            <pc:docMk/>
            <pc:sldMk cId="1760532454" sldId="280"/>
            <ac:spMk id="13" creationId="{6C38403F-FE6E-44E1-BFC3-2093125B85BB}"/>
          </ac:spMkLst>
        </pc:spChg>
        <pc:spChg chg="add mod">
          <ac:chgData name="Jochen Grün (ISO)" userId="88af28a8-8d87-4808-ab0d-95c5adee42cd" providerId="ADAL" clId="{BAA8CB93-72AF-4B7A-B805-8FA3DC21B429}" dt="2021-03-16T14:43:10.462" v="4484" actId="1076"/>
          <ac:spMkLst>
            <pc:docMk/>
            <pc:sldMk cId="1760532454" sldId="280"/>
            <ac:spMk id="14" creationId="{BF6EA866-9CD2-4A91-80C4-50237ACD9B98}"/>
          </ac:spMkLst>
        </pc:spChg>
        <pc:spChg chg="add mod">
          <ac:chgData name="Jochen Grün (ISO)" userId="88af28a8-8d87-4808-ab0d-95c5adee42cd" providerId="ADAL" clId="{BAA8CB93-72AF-4B7A-B805-8FA3DC21B429}" dt="2021-03-16T14:43:18.368" v="4489" actId="1037"/>
          <ac:spMkLst>
            <pc:docMk/>
            <pc:sldMk cId="1760532454" sldId="280"/>
            <ac:spMk id="18" creationId="{1CF6D87D-FE8C-4B58-86E4-18253432FEEA}"/>
          </ac:spMkLst>
        </pc:spChg>
        <pc:spChg chg="add mod">
          <ac:chgData name="Jochen Grün (ISO)" userId="88af28a8-8d87-4808-ab0d-95c5adee42cd" providerId="ADAL" clId="{BAA8CB93-72AF-4B7A-B805-8FA3DC21B429}" dt="2021-03-16T14:43:14.080" v="4485" actId="1038"/>
          <ac:spMkLst>
            <pc:docMk/>
            <pc:sldMk cId="1760532454" sldId="280"/>
            <ac:spMk id="22" creationId="{128D219D-459D-486F-9DBC-A2427A6821E4}"/>
          </ac:spMkLst>
        </pc:spChg>
        <pc:cxnChg chg="add">
          <ac:chgData name="Jochen Grün (ISO)" userId="88af28a8-8d87-4808-ab0d-95c5adee42cd" providerId="ADAL" clId="{BAA8CB93-72AF-4B7A-B805-8FA3DC21B429}" dt="2021-03-16T14:40:07.301" v="4373" actId="11529"/>
          <ac:cxnSpMkLst>
            <pc:docMk/>
            <pc:sldMk cId="1760532454" sldId="280"/>
            <ac:cxnSpMk id="12" creationId="{4F2E5A91-92BD-42FA-A414-C9A2B6869CAB}"/>
          </ac:cxnSpMkLst>
        </pc:cxnChg>
        <pc:cxnChg chg="add mod">
          <ac:chgData name="Jochen Grün (ISO)" userId="88af28a8-8d87-4808-ab0d-95c5adee42cd" providerId="ADAL" clId="{BAA8CB93-72AF-4B7A-B805-8FA3DC21B429}" dt="2021-03-16T14:43:10.462" v="4484" actId="1076"/>
          <ac:cxnSpMkLst>
            <pc:docMk/>
            <pc:sldMk cId="1760532454" sldId="280"/>
            <ac:cxnSpMk id="15" creationId="{51FC3294-A2A1-4BDF-B6CE-D865961E602C}"/>
          </ac:cxnSpMkLst>
        </pc:cxnChg>
        <pc:cxnChg chg="add mod">
          <ac:chgData name="Jochen Grün (ISO)" userId="88af28a8-8d87-4808-ab0d-95c5adee42cd" providerId="ADAL" clId="{BAA8CB93-72AF-4B7A-B805-8FA3DC21B429}" dt="2021-03-16T14:43:10.462" v="4484" actId="1076"/>
          <ac:cxnSpMkLst>
            <pc:docMk/>
            <pc:sldMk cId="1760532454" sldId="280"/>
            <ac:cxnSpMk id="19" creationId="{CD112CD9-A871-4538-B714-BB9131178978}"/>
          </ac:cxnSpMkLst>
        </pc:cxnChg>
      </pc:sldChg>
      <pc:sldChg chg="new del">
        <pc:chgData name="Jochen Grün (ISO)" userId="88af28a8-8d87-4808-ab0d-95c5adee42cd" providerId="ADAL" clId="{BAA8CB93-72AF-4B7A-B805-8FA3DC21B429}" dt="2021-03-16T14:37:12.078" v="4285" actId="47"/>
        <pc:sldMkLst>
          <pc:docMk/>
          <pc:sldMk cId="1875846823" sldId="281"/>
        </pc:sldMkLst>
      </pc:sldChg>
      <pc:sldChg chg="modSp new mod">
        <pc:chgData name="Jochen Grün (ISO)" userId="88af28a8-8d87-4808-ab0d-95c5adee42cd" providerId="ADAL" clId="{BAA8CB93-72AF-4B7A-B805-8FA3DC21B429}" dt="2021-03-16T14:50:40.235" v="4720" actId="20577"/>
        <pc:sldMkLst>
          <pc:docMk/>
          <pc:sldMk cId="2556071921" sldId="281"/>
        </pc:sldMkLst>
        <pc:spChg chg="mod">
          <ac:chgData name="Jochen Grün (ISO)" userId="88af28a8-8d87-4808-ab0d-95c5adee42cd" providerId="ADAL" clId="{BAA8CB93-72AF-4B7A-B805-8FA3DC21B429}" dt="2021-03-16T14:50:40.235" v="4720" actId="20577"/>
          <ac:spMkLst>
            <pc:docMk/>
            <pc:sldMk cId="2556071921" sldId="281"/>
            <ac:spMk id="2" creationId="{C80B1C29-60A2-4043-AD89-450961D27774}"/>
          </ac:spMkLst>
        </pc:spChg>
        <pc:spChg chg="mod">
          <ac:chgData name="Jochen Grün (ISO)" userId="88af28a8-8d87-4808-ab0d-95c5adee42cd" providerId="ADAL" clId="{BAA8CB93-72AF-4B7A-B805-8FA3DC21B429}" dt="2021-03-16T14:37:21.344" v="4307" actId="20577"/>
          <ac:spMkLst>
            <pc:docMk/>
            <pc:sldMk cId="2556071921" sldId="281"/>
            <ac:spMk id="7" creationId="{295BC36C-75BA-4AF5-ADF4-EAB7102C115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/>
          <p:nvPr/>
        </p:nvGrpSpPr>
        <p:grpSpPr bwMode="gray">
          <a:xfrm>
            <a:off x="-154558" y="-155482"/>
            <a:ext cx="7114729" cy="10250302"/>
            <a:chOff x="-155748" y="-143040"/>
            <a:chExt cx="7169496" cy="9430081"/>
          </a:xfrm>
        </p:grpSpPr>
        <p:grpSp>
          <p:nvGrpSpPr>
            <p:cNvPr id="64" name="Gruppieren 63"/>
            <p:cNvGrpSpPr/>
            <p:nvPr/>
          </p:nvGrpSpPr>
          <p:grpSpPr bwMode="gray">
            <a:xfrm>
              <a:off x="-155748" y="253998"/>
              <a:ext cx="7169496" cy="8672517"/>
              <a:chOff x="-174801" y="253998"/>
              <a:chExt cx="7169496" cy="8672517"/>
            </a:xfrm>
          </p:grpSpPr>
          <p:grpSp>
            <p:nvGrpSpPr>
              <p:cNvPr id="72" name="Gruppieren 71"/>
              <p:cNvGrpSpPr/>
              <p:nvPr/>
            </p:nvGrpSpPr>
            <p:grpSpPr bwMode="gray">
              <a:xfrm>
                <a:off x="-174801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82" name="Gleichschenkliges Dreieck 81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3" name="Gleichschenkliges Dreieck 82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4" name="Gleichschenkliges Dreieck 83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5" name="Gleichschenkliges Dreieck 84"/>
                <p:cNvSpPr/>
                <p:nvPr/>
              </p:nvSpPr>
              <p:spPr bwMode="gray">
                <a:xfrm rot="5400000">
                  <a:off x="-179392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6" name="Gleichschenkliges Dreieck 85"/>
                <p:cNvSpPr/>
                <p:nvPr/>
              </p:nvSpPr>
              <p:spPr bwMode="gray">
                <a:xfrm rot="5400000">
                  <a:off x="-179393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7" name="Gleichschenkliges Dreieck 86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8" name="Gleichschenkliges Dreieck 87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9" name="Gleichschenkliges Dreieck 88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73" name="Gruppieren 72"/>
              <p:cNvGrpSpPr/>
              <p:nvPr/>
            </p:nvGrpSpPr>
            <p:grpSpPr bwMode="gray">
              <a:xfrm flipH="1">
                <a:off x="6937199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74" name="Gleichschenkliges Dreieck 73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5" name="Gleichschenkliges Dreieck 74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6" name="Gleichschenkliges Dreieck 75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7" name="Gleichschenkliges Dreieck 76"/>
                <p:cNvSpPr/>
                <p:nvPr/>
              </p:nvSpPr>
              <p:spPr bwMode="gray">
                <a:xfrm rot="5400000">
                  <a:off x="-179391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8" name="Gleichschenkliges Dreieck 77"/>
                <p:cNvSpPr/>
                <p:nvPr/>
              </p:nvSpPr>
              <p:spPr bwMode="gray">
                <a:xfrm rot="5400000">
                  <a:off x="-179392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9" name="Gleichschenkliges Dreieck 78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0" name="Gleichschenkliges Dreieck 79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1" name="Gleichschenkliges Dreieck 80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5" name="Gruppieren 64"/>
            <p:cNvGrpSpPr/>
            <p:nvPr/>
          </p:nvGrpSpPr>
          <p:grpSpPr bwMode="gray">
            <a:xfrm>
              <a:off x="911223" y="-143040"/>
              <a:ext cx="5072066" cy="9430081"/>
              <a:chOff x="911223" y="-158975"/>
              <a:chExt cx="5072066" cy="9430081"/>
            </a:xfrm>
          </p:grpSpPr>
          <p:grpSp>
            <p:nvGrpSpPr>
              <p:cNvPr id="66" name="Gruppieren 65"/>
              <p:cNvGrpSpPr/>
              <p:nvPr/>
            </p:nvGrpSpPr>
            <p:grpSpPr bwMode="gray">
              <a:xfrm>
                <a:off x="911223" y="-158975"/>
                <a:ext cx="5072066" cy="57481"/>
                <a:chOff x="911223" y="-158975"/>
                <a:chExt cx="5072066" cy="57481"/>
              </a:xfrm>
            </p:grpSpPr>
            <p:sp>
              <p:nvSpPr>
                <p:cNvPr id="70" name="Gleichschenkliges Dreieck 69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1" name="Gleichschenkliges Dreieck 70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uppieren 66"/>
              <p:cNvGrpSpPr/>
              <p:nvPr/>
            </p:nvGrpSpPr>
            <p:grpSpPr bwMode="gray">
              <a:xfrm flipV="1">
                <a:off x="911223" y="9213625"/>
                <a:ext cx="5072066" cy="57481"/>
                <a:chOff x="911223" y="-158975"/>
                <a:chExt cx="5072066" cy="57481"/>
              </a:xfrm>
            </p:grpSpPr>
            <p:sp>
              <p:nvSpPr>
                <p:cNvPr id="68" name="Gleichschenkliges Dreieck 67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9" name="Gleichschenkliges Dreieck 68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287226" cy="1846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939151" y="312330"/>
            <a:ext cx="965348" cy="19671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300"/>
            </a:lvl1pPr>
          </a:lstStyle>
          <a:p>
            <a:fld id="{A031DBC6-A481-4C45-8DB3-0C598107CDE9}" type="datetimeFigureOut">
              <a:rPr lang="de-DE" sz="1000">
                <a:solidFill>
                  <a:schemeClr val="tx2"/>
                </a:solidFill>
              </a:rPr>
              <a:t>29.03.2021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937347" y="9469981"/>
            <a:ext cx="3430142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224984" y="9469981"/>
            <a:ext cx="679516" cy="1967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</a:lstStyle>
          <a:p>
            <a:fld id="{050927EF-6445-814E-B74D-F3EF878A1E88}" type="slidenum">
              <a:rPr lang="de-DE" sz="1000">
                <a:solidFill>
                  <a:schemeClr val="tx2"/>
                </a:solidFill>
              </a:rPr>
              <a:t>‹Nr.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636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823161" cy="19671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260713" y="312332"/>
            <a:ext cx="643786" cy="192494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F4666C0-FA6C-45BA-BD66-E1C9FC5B12A8}" type="datetimeFigureOut">
              <a:rPr lang="de-DE" smtClean="0"/>
              <a:pPr/>
              <a:t>29.03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33450" y="684213"/>
            <a:ext cx="4972050" cy="279717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5680" tIns="47840" rIns="95680" bIns="4784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37346" y="3961557"/>
            <a:ext cx="4967153" cy="523233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937348" y="9469980"/>
            <a:ext cx="3680245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475088" y="9469981"/>
            <a:ext cx="429412" cy="196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5799BF5-2177-414B-8A81-41618E50EDB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05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8786" rtl="0" eaLnBrk="1" latinLnBrk="0" hangingPunct="1">
      <a:spcBef>
        <a:spcPts val="267"/>
      </a:spcBef>
      <a:spcAft>
        <a:spcPts val="267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8786" rtl="0" eaLnBrk="1" latinLnBrk="0" hangingPunct="1">
      <a:spcBef>
        <a:spcPts val="267"/>
      </a:spcBef>
      <a:spcAft>
        <a:spcPts val="267"/>
      </a:spcAft>
      <a:defRPr sz="1000" b="1" kern="1200">
        <a:solidFill>
          <a:schemeClr val="tx1"/>
        </a:solidFill>
        <a:latin typeface="+mn-lt"/>
        <a:ea typeface="+mn-ea"/>
        <a:cs typeface="+mn-cs"/>
      </a:defRPr>
    </a:lvl2pPr>
    <a:lvl3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358775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449263" indent="-269875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lphaLcParenR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8786" rtl="0" eaLnBrk="1" latinLnBrk="0" hangingPunct="1">
      <a:spcBef>
        <a:spcPts val="267"/>
      </a:spcBef>
      <a:spcAft>
        <a:spcPts val="267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3350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013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174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661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83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425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12202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291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14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8896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00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blat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907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F7F33227-FED5-457F-81D4-E74627327F0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74" name="Gruppieren 73"/>
          <p:cNvGrpSpPr/>
          <p:nvPr userDrawn="1"/>
        </p:nvGrpSpPr>
        <p:grpSpPr bwMode="gray">
          <a:xfrm>
            <a:off x="4686657" y="2866800"/>
            <a:ext cx="2818700" cy="1124410"/>
            <a:chOff x="-64593788" y="4924426"/>
            <a:chExt cx="63238063" cy="25223786"/>
          </a:xfrm>
        </p:grpSpPr>
        <p:sp>
          <p:nvSpPr>
            <p:cNvPr id="12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61" name="Gruppieren 60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62" name="Gleichschenkliges Dreieck 6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3" name="Gleichschenkliges Dreieck 62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4" name="Gleichschenkliges Dreieck 63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5" name="Gleichschenkliges Dreieck 64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6" name="Gleichschenkliges Dreieck 65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7" name="Gleichschenkliges Dreieck 66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9" name="Gleichschenkliges Dreieck 68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6" name="Gleichschenkliges Dreieck 75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0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63" y="1483200"/>
            <a:ext cx="5543495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4" y="1484313"/>
            <a:ext cx="5544271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740B768-3BC9-4C97-A6B2-165F9F8CFA33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72219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95775" y="1484314"/>
            <a:ext cx="7488238" cy="4897436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00" y="1484314"/>
            <a:ext cx="3602038" cy="48974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0D19AA-D213-4663-986A-6800CEE1CA58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0948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6454" y="1484313"/>
            <a:ext cx="11377559" cy="4897437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987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484313"/>
            <a:ext cx="12192000" cy="5373691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2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 userDrawn="1"/>
        </p:nvSpPr>
        <p:spPr bwMode="gray">
          <a:xfrm>
            <a:off x="406453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tx2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tx2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5" y="3325518"/>
            <a:ext cx="7776586" cy="64323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 bwMode="gray">
          <a:xfrm>
            <a:off x="406454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accent1"/>
                </a:solidFill>
              </a:rPr>
              <a:t>Herzlichen Dank</a:t>
            </a:r>
            <a:br>
              <a:rPr lang="de-DE" sz="3600" dirty="0">
                <a:solidFill>
                  <a:schemeClr val="accent1"/>
                </a:solidFill>
              </a:rPr>
            </a:br>
            <a:r>
              <a:rPr lang="de-DE" sz="3600" dirty="0">
                <a:solidFill>
                  <a:schemeClr val="accent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8004"/>
            <a:ext cx="1391970" cy="260350"/>
          </a:xfrm>
        </p:spPr>
        <p:txBody>
          <a:bodyPr/>
          <a:lstStyle/>
          <a:p>
            <a:fld id="{681A5632-900B-4722-96B8-2E655D6B8254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8003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8002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72CBCFA-1FED-4FF1-BDA6-00954ADDC5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13" name="Rectangle 10"/>
          <p:cNvSpPr>
            <a:spLocks noChangeArrowheads="1"/>
          </p:cNvSpPr>
          <p:nvPr userDrawn="1"/>
        </p:nvSpPr>
        <p:spPr bwMode="gray">
          <a:xfrm>
            <a:off x="406452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endParaRPr lang="en-US" sz="1300" noProof="0" dirty="0">
              <a:solidFill>
                <a:schemeClr val="bg1"/>
              </a:solidFill>
              <a:latin typeface="+mn-lt"/>
              <a:cs typeface="Segoe UI"/>
            </a:endParaRP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bg1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4" y="3325518"/>
            <a:ext cx="7776587" cy="62355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8" name="Titel 1"/>
          <p:cNvSpPr txBox="1">
            <a:spLocks/>
          </p:cNvSpPr>
          <p:nvPr userDrawn="1"/>
        </p:nvSpPr>
        <p:spPr bwMode="gray">
          <a:xfrm>
            <a:off x="406455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bg1"/>
                </a:solidFill>
              </a:rPr>
              <a:t>Herzlichen Dank</a:t>
            </a:r>
            <a:br>
              <a:rPr lang="de-DE" sz="3600" dirty="0">
                <a:solidFill>
                  <a:schemeClr val="bg1"/>
                </a:solidFill>
              </a:rPr>
            </a:br>
            <a:r>
              <a:rPr lang="de-DE" sz="3600" dirty="0">
                <a:solidFill>
                  <a:schemeClr val="bg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4831"/>
            <a:ext cx="1391970" cy="260350"/>
          </a:xfrm>
        </p:spPr>
        <p:txBody>
          <a:bodyPr/>
          <a:lstStyle/>
          <a:p>
            <a:fld id="{CCB24A32-4369-497F-8A79-128AF69675CB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881A3782-5D6E-47EF-94E3-C7FB9A29F086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5388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89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inweiß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7" name="Gleichschenkliges Dreieck 6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Gleichschenkliges Dreieck 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" name="Gleichschenkliges Dreieck 8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0" name="Gleichschenkliges Dreieck 9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1" name="Gleichschenkliges Dreieck 10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2" name="Gleichschenkliges Dreieck 11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3" name="Gleichschenkliges Dreieck 12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4" name="Gleichschenkliges Dreieck 13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Gleichschenkliges Dreieck 14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Gleichschenkliges Dreieck 15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Gleichschenkliges Dreieck 16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8" name="Gleichschenkliges Dreieck 17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Gleichschenkliges Dreieck 18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Gleichschenkliges Dreieck 19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Gleichschenkliges Dreieck 20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Gleichschenkliges Dreieck 21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Gleichschenkliges Dreieck 22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Gleichschenkliges Dreieck 23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Gleichschenkliges Dreieck 24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Gleichschenkliges Dreieck 25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Gleichschenkliges Dreieck 26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Gleichschenkliges Dreieck 2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9" name="Gleichschenkliges Dreieck 28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0" name="Gleichschenkliges Dreieck 29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1" name="Gleichschenkliges Dreieck 30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2" name="Gleichschenkliges Dreieck 31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3" name="Gleichschenkliges Dreieck 32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4" name="Gleichschenkliges Dreieck 33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5" name="Gleichschenkliges Dreieck 34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Gleichschenkliges Dreieck 35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554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BF6BF2A-AE47-41E7-B7CF-7764446C6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406453" y="6597657"/>
            <a:ext cx="7489213" cy="26034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1000" dirty="0">
                <a:solidFill>
                  <a:schemeClr val="bg1"/>
                </a:solidFill>
                <a:latin typeface="+mn-lt"/>
                <a:cs typeface="Segoe UI"/>
              </a:rPr>
              <a:t>© MHP Management- und IT-Beratung GmbH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3" y="3032314"/>
            <a:ext cx="11377506" cy="280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406453" y="1484313"/>
            <a:ext cx="11377506" cy="1548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55" y="5840314"/>
            <a:ext cx="7489212" cy="25251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Wingdings" charset="2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charset="2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Vortragende(r)  l  Veranstaltung</a:t>
            </a:r>
          </a:p>
        </p:txBody>
      </p:sp>
    </p:spTree>
    <p:extLst>
      <p:ext uri="{BB962C8B-B14F-4D97-AF65-F5344CB8AC3E}">
        <p14:creationId xmlns:p14="http://schemas.microsoft.com/office/powerpoint/2010/main" val="71697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Kund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263FF8A2-96C4-4851-94C8-79373C3EF5E8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6587" cy="7921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007372" y="2692544"/>
            <a:ext cx="4175669" cy="2208643"/>
          </a:xfrm>
        </p:spPr>
        <p:txBody>
          <a:bodyPr tIns="28800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/>
              <a:t>Auf Icon klicken, </a:t>
            </a:r>
            <a:br>
              <a:rPr lang="de-DE" noProof="0" dirty="0"/>
            </a:br>
            <a:r>
              <a:rPr lang="de-DE" noProof="0" dirty="0"/>
              <a:t>um ein Kundenlogo einzufügen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6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743EEAB8-1B2A-45CC-8D5F-502295D319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68" b="7791"/>
          <a:stretch/>
        </p:blipFill>
        <p:spPr>
          <a:xfrm>
            <a:off x="-2320" y="0"/>
            <a:ext cx="12192000" cy="6864356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151200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151200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64356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64355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64354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4135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 - Rein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54831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82021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95775" y="1196975"/>
            <a:ext cx="7485186" cy="5184775"/>
          </a:xfrm>
        </p:spPr>
        <p:txBody>
          <a:bodyPr anchor="ctr"/>
          <a:lstStyle>
            <a:lvl1pPr>
              <a:defRPr sz="52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Kapitel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" y="0"/>
            <a:ext cx="4295775" cy="685800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bIns="75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174867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06455" y="1484313"/>
            <a:ext cx="11377558" cy="4897437"/>
          </a:xfrm>
        </p:spPr>
        <p:txBody>
          <a:bodyPr/>
          <a:lstStyle>
            <a:lvl5pPr>
              <a:defRPr/>
            </a:lvl5pPr>
            <a:lvl6pPr marL="239698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54" y="0"/>
            <a:ext cx="7777162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06454" y="404814"/>
            <a:ext cx="7777109" cy="7921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7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halt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E243A558-6A64-40D2-ABA5-CC0024ABAEAB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2"/>
            <a:ext cx="5545085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33"/>
          </p:nvPr>
        </p:nvSpPr>
        <p:spPr bwMode="gray">
          <a:xfrm>
            <a:off x="6240463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3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3564" y="1483200"/>
            <a:ext cx="3598100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3"/>
            <a:ext cx="7489214" cy="489743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85F3669E-AC4A-4E81-AD65-5336D3B883ED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10373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873349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1032" name="Gleichschenkliges Dreieck 103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Gleichschenkliges Dreieck 73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3" name="Gleichschenkliges Dreieck 92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Gleichschenkliges Dreieck 93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5" name="Gleichschenkliges Dreieck 94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Gleichschenkliges Dreieck 95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8" name="Gleichschenkliges Dreieck 9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Gleichschenkliges Dreieck 55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7109" cy="792162"/>
          </a:xfrm>
          <a:prstGeom prst="rect">
            <a:avLst/>
          </a:prstGeom>
        </p:spPr>
        <p:txBody>
          <a:bodyPr vert="horz" lIns="0" tIns="71975" rIns="0" bIns="0" rtlCol="0" anchor="t">
            <a:noAutofit/>
          </a:bodyPr>
          <a:lstStyle/>
          <a:p>
            <a:pPr lvl="0"/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6454" y="1484384"/>
            <a:ext cx="11377559" cy="48783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0017438" y="6597654"/>
            <a:ext cx="1391970" cy="260350"/>
          </a:xfrm>
          <a:prstGeom prst="rect">
            <a:avLst/>
          </a:prstGeom>
        </p:spPr>
        <p:txBody>
          <a:bodyPr vert="horz" lIns="0" tIns="0" rIns="10800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11F924D-D0F0-48B3-AB8A-6E39FBD75350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6454" y="6597653"/>
            <a:ext cx="7489213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cap="none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09406" y="6597652"/>
            <a:ext cx="371554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066355A-084C-D24E-9AD2-7E4FC41EA627}" type="slidenum">
              <a:rPr lang="de-DE" noProof="0" smtClean="0"/>
              <a:pPr/>
              <a:t>‹Nr.›</a:t>
            </a:fld>
            <a:endParaRPr lang="de-DE" noProof="0"/>
          </a:p>
        </p:txBody>
      </p:sp>
      <p:grpSp>
        <p:nvGrpSpPr>
          <p:cNvPr id="120" name="Gruppieren 119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21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3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62" name="TextBox 61"/>
          <p:cNvSpPr txBox="1"/>
          <p:nvPr userDrawn="1"/>
        </p:nvSpPr>
        <p:spPr bwMode="gray">
          <a:xfrm>
            <a:off x="11353268" y="6597352"/>
            <a:ext cx="72017" cy="260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ctr" defTabSz="609393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noProof="0" dirty="0">
                <a:solidFill>
                  <a:schemeClr val="tx2"/>
                </a:solidFill>
              </a:rPr>
              <a:t>l</a:t>
            </a:r>
          </a:p>
          <a:p>
            <a:pPr marL="0" indent="0" algn="ctr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3" r:id="rId1"/>
    <p:sldLayoutId id="2147493458" r:id="rId2"/>
    <p:sldLayoutId id="2147493481" r:id="rId3"/>
    <p:sldLayoutId id="2147493484" r:id="rId4"/>
    <p:sldLayoutId id="2147493486" r:id="rId5"/>
    <p:sldLayoutId id="2147493485" r:id="rId6"/>
    <p:sldLayoutId id="2147493462" r:id="rId7"/>
    <p:sldLayoutId id="2147493475" r:id="rId8"/>
    <p:sldLayoutId id="2147493476" r:id="rId9"/>
    <p:sldLayoutId id="2147493477" r:id="rId10"/>
    <p:sldLayoutId id="2147493478" r:id="rId11"/>
    <p:sldLayoutId id="2147493487" r:id="rId12"/>
    <p:sldLayoutId id="2147493479" r:id="rId13"/>
    <p:sldLayoutId id="2147493465" r:id="rId14"/>
    <p:sldLayoutId id="2147493488" r:id="rId15"/>
    <p:sldLayoutId id="2147493457" r:id="rId16"/>
    <p:sldLayoutId id="2147493483" r:id="rId17"/>
    <p:sldLayoutId id="2147493464" r:id="rId18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  <p:hf hdr="0"/>
  <p:txStyles>
    <p:titleStyle>
      <a:lvl1pPr algn="l" defTabSz="609393" rtl="0" eaLnBrk="1" latinLnBrk="0" hangingPunct="1">
        <a:lnSpc>
          <a:spcPct val="85000"/>
        </a:lnSpc>
        <a:spcBef>
          <a:spcPct val="0"/>
        </a:spcBef>
        <a:buNone/>
        <a:defRPr sz="2000" kern="1200">
          <a:solidFill>
            <a:schemeClr val="accent1"/>
          </a:solidFill>
          <a:latin typeface="Segoe UI"/>
          <a:ea typeface="+mj-ea"/>
          <a:cs typeface="+mj-cs"/>
        </a:defRPr>
      </a:lvl1pPr>
      <a:lvl2pPr algn="l" eaLnBrk="1" hangingPunct="1">
        <a:lnSpc>
          <a:spcPct val="85000"/>
        </a:lnSpc>
        <a:defRPr sz="2100" b="0">
          <a:solidFill>
            <a:schemeClr val="accent1"/>
          </a:solidFill>
          <a:latin typeface="+mj-lt"/>
        </a:defRPr>
      </a:lvl2pPr>
      <a:lvl3pPr algn="l" eaLnBrk="1" hangingPunct="1">
        <a:lnSpc>
          <a:spcPct val="85000"/>
        </a:lnSpc>
        <a:defRPr sz="2100">
          <a:solidFill>
            <a:schemeClr val="accent1"/>
          </a:solidFill>
          <a:latin typeface="+mj-lt"/>
        </a:defRPr>
      </a:lvl3pPr>
    </p:titleStyle>
    <p:bodyStyle>
      <a:lvl1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SzPct val="100000"/>
        <a:buFont typeface="Wingdings" charset="2"/>
        <a:buNone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1pPr>
      <a:lvl2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400" b="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2pPr>
      <a:lvl3pPr marL="4788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3pPr>
      <a:lvl4pPr marL="7200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4pPr>
      <a:lvl5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90000"/>
        <a:buFont typeface="+mj-lt"/>
        <a:buAutoNum type="arabicPeriod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5pPr>
      <a:lvl6pPr marL="478800" indent="-239102" algn="l" defTabSz="609393" rtl="0" eaLnBrk="1" latinLnBrk="0" hangingPunct="1">
        <a:lnSpc>
          <a:spcPct val="80000"/>
        </a:lnSpc>
        <a:spcBef>
          <a:spcPts val="800"/>
        </a:spcBef>
        <a:spcAft>
          <a:spcPts val="800"/>
        </a:spcAft>
        <a:buClr>
          <a:schemeClr val="accent1"/>
        </a:buClr>
        <a:buSzPct val="100000"/>
        <a:buFont typeface="+mj-lt"/>
        <a:buAutoNum type="alphaLcParenR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+mj-lt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3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86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8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7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6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57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5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4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2525" userDrawn="1">
          <p15:clr>
            <a:srgbClr val="F26B43"/>
          </p15:clr>
        </p15:guide>
        <p15:guide id="4" pos="2706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  <p15:guide id="7" pos="4974" userDrawn="1">
          <p15:clr>
            <a:srgbClr val="F26B43"/>
          </p15:clr>
        </p15:guide>
        <p15:guide id="8" pos="5155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935" userDrawn="1">
          <p15:clr>
            <a:srgbClr val="F26B43"/>
          </p15:clr>
        </p15:guide>
        <p15:guide id="12" orient="horz" pos="2387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020" userDrawn="1">
          <p15:clr>
            <a:srgbClr val="F26B43"/>
          </p15:clr>
        </p15:guide>
        <p15:guide id="15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Cloud_applica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n.wikipedia.org/wiki/DevOps" TargetMode="External"/><Relationship Id="rId5" Type="http://schemas.openxmlformats.org/officeDocument/2006/relationships/hyperlink" Target="https://en.wikipedia.org/wiki/Operating-system-level_virtualization" TargetMode="External"/><Relationship Id="rId4" Type="http://schemas.openxmlformats.org/officeDocument/2006/relationships/hyperlink" Target="https://en.wikipedia.org/wiki/Serverless_computing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Har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ay</a:t>
            </a:r>
            <a:r>
              <a:rPr lang="de-DE" dirty="0"/>
              <a:t>,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citations</a:t>
            </a:r>
            <a:r>
              <a:rPr lang="de-DE" dirty="0"/>
              <a:t>:</a:t>
            </a:r>
          </a:p>
          <a:p>
            <a:r>
              <a:rPr lang="de-DE" dirty="0"/>
              <a:t>„…</a:t>
            </a:r>
            <a:r>
              <a:rPr lang="en-US" dirty="0"/>
              <a:t>In a microservices architecture, services are fine-grained and the protocols are lightweight…”</a:t>
            </a:r>
          </a:p>
          <a:p>
            <a:r>
              <a:rPr lang="de-DE" dirty="0"/>
              <a:t>„</a:t>
            </a:r>
            <a:r>
              <a:rPr lang="en-US" dirty="0"/>
              <a:t>…Services are small in size, messaging-enabled…”</a:t>
            </a:r>
          </a:p>
          <a:p>
            <a:r>
              <a:rPr lang="de-DE" dirty="0"/>
              <a:t>„ </a:t>
            </a:r>
            <a:r>
              <a:rPr lang="en-US" dirty="0"/>
              <a:t>… It is common for microservices architectures to be adopted for </a:t>
            </a:r>
            <a:r>
              <a:rPr lang="en-US" dirty="0">
                <a:hlinkClick r:id="rId3" tooltip="Cloud application"/>
              </a:rPr>
              <a:t>cloud-native applications</a:t>
            </a:r>
            <a:r>
              <a:rPr lang="en-US" dirty="0"/>
              <a:t>, </a:t>
            </a:r>
            <a:r>
              <a:rPr lang="en-US" dirty="0">
                <a:hlinkClick r:id="rId4" tooltip="Serverless computing"/>
              </a:rPr>
              <a:t>serverless computing</a:t>
            </a:r>
            <a:r>
              <a:rPr lang="en-US" dirty="0"/>
              <a:t>, and applications using lightweight </a:t>
            </a:r>
            <a:r>
              <a:rPr lang="en-US" dirty="0">
                <a:hlinkClick r:id="rId5" tooltip="Operating-system-level virtualization"/>
              </a:rPr>
              <a:t>container</a:t>
            </a:r>
            <a:r>
              <a:rPr lang="en-US" dirty="0"/>
              <a:t> deployment…”</a:t>
            </a:r>
          </a:p>
          <a:p>
            <a:r>
              <a:rPr lang="de-DE" dirty="0"/>
              <a:t>„</a:t>
            </a:r>
            <a:r>
              <a:rPr lang="en-US" dirty="0"/>
              <a:t>… because of the large number of services, decentralized continuous delivery and </a:t>
            </a:r>
            <a:r>
              <a:rPr lang="en-US" dirty="0">
                <a:hlinkClick r:id="rId6" tooltip="DevOps"/>
              </a:rPr>
              <a:t>DevOps</a:t>
            </a:r>
            <a:r>
              <a:rPr lang="en-US" dirty="0"/>
              <a:t> with holistic service monitoring are necessary to effectively develop, maintain, and operate such applications…”</a:t>
            </a:r>
          </a:p>
          <a:p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 err="1"/>
              <a:t>Whats</a:t>
            </a:r>
            <a:r>
              <a:rPr lang="en-US" dirty="0"/>
              <a:t> a microservice anyhow?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07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28A2183-B446-4C59-852A-6CFCC603375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Technical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aways</a:t>
            </a:r>
            <a:r>
              <a:rPr lang="de-DE" dirty="0"/>
              <a:t>:</a:t>
            </a:r>
          </a:p>
          <a:p>
            <a:pPr lvl="1"/>
            <a:r>
              <a:rPr lang="de-DE" i="1" dirty="0" err="1"/>
              <a:t>fine-grained</a:t>
            </a:r>
            <a:r>
              <a:rPr lang="de-DE" i="1" dirty="0"/>
              <a:t>, </a:t>
            </a:r>
            <a:r>
              <a:rPr lang="de-DE" i="1" dirty="0" err="1"/>
              <a:t>small</a:t>
            </a:r>
            <a:r>
              <a:rPr lang="de-DE" i="1" dirty="0"/>
              <a:t> in </a:t>
            </a:r>
            <a:r>
              <a:rPr lang="de-DE" i="1" dirty="0" err="1"/>
              <a:t>size</a:t>
            </a:r>
            <a:r>
              <a:rPr lang="de-DE" i="1" dirty="0"/>
              <a:t>, large </a:t>
            </a:r>
            <a:r>
              <a:rPr lang="de-DE" i="1" dirty="0" err="1"/>
              <a:t>number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service</a:t>
            </a:r>
            <a:r>
              <a:rPr lang="de-DE" dirty="0"/>
              <a:t>: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CPU/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efficient</a:t>
            </a:r>
            <a:r>
              <a:rPr lang="de-DE" dirty="0"/>
              <a:t>,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inefficiencies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larg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croservices</a:t>
            </a:r>
            <a:endParaRPr lang="de-DE" dirty="0"/>
          </a:p>
          <a:p>
            <a:pPr lvl="1"/>
            <a:r>
              <a:rPr lang="de-DE" i="1" dirty="0" err="1"/>
              <a:t>lightweight</a:t>
            </a:r>
            <a:r>
              <a:rPr lang="de-DE" i="1" dirty="0"/>
              <a:t> </a:t>
            </a:r>
            <a:r>
              <a:rPr lang="de-DE" i="1" dirty="0" err="1"/>
              <a:t>protocols</a:t>
            </a:r>
            <a:r>
              <a:rPr lang="de-DE" dirty="0"/>
              <a:t>: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protoco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o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do not </a:t>
            </a:r>
            <a:r>
              <a:rPr lang="de-DE" dirty="0" err="1"/>
              <a:t>need</a:t>
            </a:r>
            <a:r>
              <a:rPr lang="de-DE" dirty="0"/>
              <a:t> a </a:t>
            </a:r>
            <a:r>
              <a:rPr lang="de-DE" dirty="0" err="1"/>
              <a:t>special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/</a:t>
            </a:r>
            <a:r>
              <a:rPr lang="de-DE" dirty="0" err="1"/>
              <a:t>library</a:t>
            </a:r>
            <a:r>
              <a:rPr lang="de-DE" dirty="0"/>
              <a:t> and </a:t>
            </a:r>
            <a:r>
              <a:rPr lang="de-DE" dirty="0" err="1"/>
              <a:t>ad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like HTTP</a:t>
            </a:r>
          </a:p>
          <a:p>
            <a:pPr lvl="1"/>
            <a:r>
              <a:rPr lang="de-DE" i="1" dirty="0" err="1"/>
              <a:t>cloud</a:t>
            </a:r>
            <a:r>
              <a:rPr lang="de-DE" i="1" dirty="0"/>
              <a:t>-native/</a:t>
            </a:r>
            <a:r>
              <a:rPr lang="de-DE" i="1" dirty="0" err="1"/>
              <a:t>serverless</a:t>
            </a:r>
            <a:r>
              <a:rPr lang="de-DE" i="1" dirty="0"/>
              <a:t>, </a:t>
            </a:r>
            <a:r>
              <a:rPr lang="de-DE" i="1" dirty="0" err="1"/>
              <a:t>container</a:t>
            </a:r>
            <a:r>
              <a:rPr lang="de-DE" i="1" dirty="0"/>
              <a:t> </a:t>
            </a:r>
            <a:r>
              <a:rPr lang="de-DE" i="1" dirty="0" err="1"/>
              <a:t>deployment</a:t>
            </a:r>
            <a:r>
              <a:rPr lang="de-DE" dirty="0"/>
              <a:t>: </a:t>
            </a:r>
            <a:r>
              <a:rPr lang="de-DE" dirty="0" err="1"/>
              <a:t>only</a:t>
            </a:r>
            <a:r>
              <a:rPr lang="de-DE" dirty="0"/>
              <a:t> deploy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containers</a:t>
            </a:r>
            <a:r>
              <a:rPr lang="de-DE" dirty="0"/>
              <a:t>,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viable alternative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ment</a:t>
            </a:r>
            <a:endParaRPr lang="de-DE" dirty="0"/>
          </a:p>
          <a:p>
            <a:pPr lvl="1"/>
            <a:r>
              <a:rPr lang="de-DE" i="1" dirty="0" err="1"/>
              <a:t>DevOps</a:t>
            </a:r>
            <a:r>
              <a:rPr lang="de-DE" i="1" dirty="0"/>
              <a:t>/</a:t>
            </a:r>
            <a:r>
              <a:rPr lang="de-DE" i="1" dirty="0" err="1"/>
              <a:t>continuous</a:t>
            </a:r>
            <a:r>
              <a:rPr lang="de-DE" i="1" dirty="0"/>
              <a:t> </a:t>
            </a:r>
            <a:r>
              <a:rPr lang="de-DE" i="1" dirty="0" err="1"/>
              <a:t>delivery</a:t>
            </a:r>
            <a:r>
              <a:rPr lang="de-DE" dirty="0"/>
              <a:t>: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asily</a:t>
            </a:r>
            <a:r>
              <a:rPr lang="de-DE" dirty="0"/>
              <a:t> </a:t>
            </a:r>
            <a:r>
              <a:rPr lang="de-DE" dirty="0" err="1"/>
              <a:t>automatable</a:t>
            </a:r>
            <a:r>
              <a:rPr lang="de-DE" dirty="0"/>
              <a:t>,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job</a:t>
            </a:r>
            <a:endParaRPr lang="de-DE" dirty="0"/>
          </a:p>
          <a:p>
            <a:pPr lvl="1"/>
            <a:r>
              <a:rPr lang="de-DE" i="1" dirty="0" err="1"/>
              <a:t>holistic</a:t>
            </a:r>
            <a:r>
              <a:rPr lang="de-DE" i="1" dirty="0"/>
              <a:t> </a:t>
            </a:r>
            <a:r>
              <a:rPr lang="de-DE" i="1" dirty="0" err="1"/>
              <a:t>service</a:t>
            </a:r>
            <a:r>
              <a:rPr lang="de-DE" i="1" dirty="0"/>
              <a:t> </a:t>
            </a:r>
            <a:r>
              <a:rPr lang="de-DE" i="1" dirty="0" err="1"/>
              <a:t>monitoring</a:t>
            </a:r>
            <a:r>
              <a:rPr lang="de-DE" dirty="0"/>
              <a:t>: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in and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eas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grate</a:t>
            </a:r>
            <a:endParaRPr lang="de-DE" dirty="0"/>
          </a:p>
          <a:p>
            <a:pPr lvl="1"/>
            <a:r>
              <a:rPr lang="de-DE" i="1" dirty="0" err="1"/>
              <a:t>messaging</a:t>
            </a:r>
            <a:r>
              <a:rPr lang="de-DE" i="1" dirty="0"/>
              <a:t> </a:t>
            </a:r>
            <a:r>
              <a:rPr lang="de-DE" i="1" dirty="0" err="1"/>
              <a:t>enabled</a:t>
            </a:r>
            <a:r>
              <a:rPr lang="de-DE" dirty="0"/>
              <a:t>: </a:t>
            </a:r>
            <a:r>
              <a:rPr lang="de-DE" dirty="0" err="1"/>
              <a:t>easi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landscape</a:t>
            </a:r>
            <a:r>
              <a:rPr lang="de-DE" dirty="0"/>
              <a:t> resilient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messaging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highly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and fast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E403C1-8D31-49C0-AA95-0551C48A24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524DE-8DC0-47CB-8014-FB4B22BCBAE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A2BB65-784C-4B68-93BF-069B2C5D14F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69D1C10-CCFF-4E58-BB86-0D72E0793E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6F15F24-3FC3-4CE5-B35B-9EC87EB04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 </a:t>
            </a:r>
            <a:r>
              <a:rPr lang="de-DE" dirty="0" err="1"/>
              <a:t>tech</a:t>
            </a:r>
            <a:r>
              <a:rPr lang="de-DE" dirty="0"/>
              <a:t> </a:t>
            </a:r>
            <a:r>
              <a:rPr lang="de-DE" dirty="0" err="1"/>
              <a:t>guide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762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mplement a REST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with</a:t>
            </a:r>
            <a:endParaRPr lang="de-DE" dirty="0"/>
          </a:p>
          <a:p>
            <a:pPr lvl="1"/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1"/>
            <a:r>
              <a:rPr lang="de-DE" dirty="0" err="1"/>
              <a:t>helm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ubernetes</a:t>
            </a:r>
            <a:endParaRPr lang="de-DE" dirty="0"/>
          </a:p>
          <a:p>
            <a:pPr lvl="1"/>
            <a:r>
              <a:rPr lang="de-DE" dirty="0" err="1"/>
              <a:t>health</a:t>
            </a:r>
            <a:r>
              <a:rPr lang="de-DE" dirty="0"/>
              <a:t> </a:t>
            </a:r>
            <a:r>
              <a:rPr lang="de-DE" dirty="0" err="1"/>
              <a:t>endpoint</a:t>
            </a:r>
            <a:r>
              <a:rPr lang="de-DE" dirty="0"/>
              <a:t> so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start</a:t>
            </a:r>
            <a:r>
              <a:rPr lang="de-DE" dirty="0"/>
              <a:t> a </a:t>
            </a:r>
            <a:r>
              <a:rPr lang="de-DE" dirty="0" err="1"/>
              <a:t>failed</a:t>
            </a:r>
            <a:r>
              <a:rPr lang="de-DE" dirty="0"/>
              <a:t> </a:t>
            </a:r>
            <a:r>
              <a:rPr lang="de-DE" dirty="0" err="1"/>
              <a:t>pod</a:t>
            </a:r>
            <a:endParaRPr lang="de-DE" dirty="0"/>
          </a:p>
          <a:p>
            <a:pPr lvl="1"/>
            <a:r>
              <a:rPr lang="de-DE" dirty="0" err="1"/>
              <a:t>metrics</a:t>
            </a:r>
            <a:r>
              <a:rPr lang="de-DE" dirty="0"/>
              <a:t> </a:t>
            </a:r>
            <a:r>
              <a:rPr lang="de-DE" dirty="0" err="1"/>
              <a:t>endpoi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rometheus</a:t>
            </a:r>
            <a:endParaRPr lang="de-DE" dirty="0"/>
          </a:p>
          <a:p>
            <a:pPr lvl="1"/>
            <a:r>
              <a:rPr lang="de-DE" dirty="0" err="1"/>
              <a:t>logging</a:t>
            </a:r>
            <a:endParaRPr lang="de-DE" dirty="0"/>
          </a:p>
          <a:p>
            <a:pPr lvl="1"/>
            <a:r>
              <a:rPr lang="de-DE" dirty="0"/>
              <a:t>SQL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/>
              <a:t>Microservice Featur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18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1C52CBB-CBD8-4A3E-ABBC-97677586DE7A}"/>
              </a:ext>
            </a:extLst>
          </p:cNvPr>
          <p:cNvSpPr/>
          <p:nvPr/>
        </p:nvSpPr>
        <p:spPr bwMode="gray">
          <a:xfrm>
            <a:off x="9048328" y="1844824"/>
            <a:ext cx="2088232" cy="38663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>
                <a:solidFill>
                  <a:schemeClr val="bg1"/>
                </a:solidFill>
              </a:rPr>
              <a:t>WSL2 Linux VM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BD8B8E5-2DCA-4F55-B5E0-9928B11BE2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6455" y="1484313"/>
            <a:ext cx="6409625" cy="4897437"/>
          </a:xfrm>
        </p:spPr>
        <p:txBody>
          <a:bodyPr/>
          <a:lstStyle/>
          <a:p>
            <a:pPr lvl="1"/>
            <a:r>
              <a:rPr lang="de-DE" dirty="0" err="1"/>
              <a:t>Install</a:t>
            </a:r>
            <a:r>
              <a:rPr lang="de-DE" dirty="0"/>
              <a:t> WSL2</a:t>
            </a:r>
          </a:p>
          <a:p>
            <a:pPr lvl="1"/>
            <a:r>
              <a:rPr lang="de-DE" dirty="0" err="1"/>
              <a:t>Install</a:t>
            </a:r>
            <a:r>
              <a:rPr lang="de-DE" dirty="0"/>
              <a:t> Docker </a:t>
            </a:r>
            <a:r>
              <a:rPr lang="de-DE" dirty="0" err="1"/>
              <a:t>for</a:t>
            </a:r>
            <a:r>
              <a:rPr lang="de-DE" dirty="0"/>
              <a:t> Windows and </a:t>
            </a:r>
            <a:r>
              <a:rPr lang="de-DE" dirty="0" err="1"/>
              <a:t>configure</a:t>
            </a:r>
            <a:r>
              <a:rPr lang="de-DE" dirty="0"/>
              <a:t> WSL2 backend/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cluster</a:t>
            </a:r>
            <a:endParaRPr lang="de-DE" dirty="0"/>
          </a:p>
          <a:p>
            <a:pPr lvl="1"/>
            <a:r>
              <a:rPr lang="de-DE" dirty="0" err="1"/>
              <a:t>Install</a:t>
            </a:r>
            <a:r>
              <a:rPr lang="de-DE" dirty="0"/>
              <a:t> Helm</a:t>
            </a:r>
          </a:p>
          <a:p>
            <a:pPr lvl="1"/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services</a:t>
            </a:r>
            <a:endParaRPr lang="de-DE" dirty="0"/>
          </a:p>
          <a:p>
            <a:pPr lvl="2"/>
            <a:r>
              <a:rPr lang="de-DE" dirty="0" err="1"/>
              <a:t>nginx</a:t>
            </a:r>
            <a:r>
              <a:rPr lang="de-DE" dirty="0"/>
              <a:t> </a:t>
            </a:r>
            <a:r>
              <a:rPr lang="de-DE" dirty="0" err="1"/>
              <a:t>ingress</a:t>
            </a:r>
            <a:endParaRPr lang="de-DE" dirty="0"/>
          </a:p>
          <a:p>
            <a:pPr lvl="2"/>
            <a:r>
              <a:rPr lang="de-DE" dirty="0" err="1"/>
              <a:t>postgres</a:t>
            </a:r>
            <a:endParaRPr lang="de-DE" dirty="0"/>
          </a:p>
          <a:p>
            <a:pPr lvl="2"/>
            <a:r>
              <a:rPr lang="de-DE" dirty="0" err="1"/>
              <a:t>prometheus</a:t>
            </a:r>
            <a:endParaRPr lang="de-DE" dirty="0"/>
          </a:p>
          <a:p>
            <a:pPr lvl="2"/>
            <a:r>
              <a:rPr lang="de-DE" dirty="0" err="1"/>
              <a:t>extend</a:t>
            </a:r>
            <a:r>
              <a:rPr lang="de-DE" dirty="0"/>
              <a:t> </a:t>
            </a:r>
            <a:r>
              <a:rPr lang="de-DE" dirty="0" err="1"/>
              <a:t>hosts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BC4F616-8F2B-4E13-942A-CB1BB4A225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535348-6E8B-484C-B641-B1BF14A4ED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F93CCE-E418-49A5-91CE-7A8CB81381E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13EAE64-7865-4866-AD64-23462DCF8EC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FE00A5B-7EC6-4556-93EC-537B3153A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tup </a:t>
            </a:r>
            <a:r>
              <a:rPr lang="de-DE" dirty="0" err="1"/>
              <a:t>Dev</a:t>
            </a:r>
            <a:r>
              <a:rPr lang="de-DE" dirty="0"/>
              <a:t> Environ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D36CCC-68BD-487B-8E6D-FF1D33976304}"/>
              </a:ext>
            </a:extLst>
          </p:cNvPr>
          <p:cNvSpPr/>
          <p:nvPr/>
        </p:nvSpPr>
        <p:spPr bwMode="gray">
          <a:xfrm>
            <a:off x="9408368" y="4509120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kubernete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290276C-5BD3-4D85-AFC0-4480FC0B4FBA}"/>
              </a:ext>
            </a:extLst>
          </p:cNvPr>
          <p:cNvSpPr/>
          <p:nvPr/>
        </p:nvSpPr>
        <p:spPr bwMode="gray">
          <a:xfrm>
            <a:off x="9408368" y="2298982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docker</a:t>
            </a: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F2E5A91-92BD-42FA-A414-C9A2B6869CAB}"/>
              </a:ext>
            </a:extLst>
          </p:cNvPr>
          <p:cNvCxnSpPr>
            <a:endCxn id="10" idx="2"/>
          </p:cNvCxnSpPr>
          <p:nvPr/>
        </p:nvCxnSpPr>
        <p:spPr bwMode="gray">
          <a:xfrm flipV="1">
            <a:off x="10092444" y="3307094"/>
            <a:ext cx="0" cy="1202026"/>
          </a:xfrm>
          <a:prstGeom prst="straightConnector1">
            <a:avLst/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6C38403F-FE6E-44E1-BFC3-2093125B85BB}"/>
              </a:ext>
            </a:extLst>
          </p:cNvPr>
          <p:cNvSpPr txBox="1"/>
          <p:nvPr/>
        </p:nvSpPr>
        <p:spPr bwMode="gray">
          <a:xfrm>
            <a:off x="10106998" y="36226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us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local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</a:p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dock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mages</a:t>
            </a:r>
            <a:endParaRPr lang="de-DE" sz="1400" dirty="0">
              <a:solidFill>
                <a:schemeClr val="tx2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F6EA866-9CD2-4A91-80C4-50237ACD9B98}"/>
              </a:ext>
            </a:extLst>
          </p:cNvPr>
          <p:cNvSpPr/>
          <p:nvPr/>
        </p:nvSpPr>
        <p:spPr bwMode="gray">
          <a:xfrm>
            <a:off x="6312024" y="3369169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VSCode</a:t>
            </a:r>
            <a:endParaRPr lang="de-DE" sz="1400" b="1" dirty="0">
              <a:solidFill>
                <a:schemeClr val="bg1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DE" sz="1400" b="1" dirty="0">
                <a:solidFill>
                  <a:schemeClr val="bg1"/>
                </a:solidFill>
              </a:rPr>
              <a:t>Terminal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1FC3294-A2A1-4BDF-B6CE-D865961E602C}"/>
              </a:ext>
            </a:extLst>
          </p:cNvPr>
          <p:cNvCxnSpPr>
            <a:cxnSpLocks/>
            <a:stCxn id="14" idx="3"/>
            <a:endCxn id="10" idx="1"/>
          </p:cNvCxnSpPr>
          <p:nvPr/>
        </p:nvCxnSpPr>
        <p:spPr bwMode="gray">
          <a:xfrm flipV="1">
            <a:off x="7680176" y="2803038"/>
            <a:ext cx="1728192" cy="1070187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1CF6D87D-FE8C-4B58-86E4-18253432FEEA}"/>
              </a:ext>
            </a:extLst>
          </p:cNvPr>
          <p:cNvSpPr txBox="1"/>
          <p:nvPr/>
        </p:nvSpPr>
        <p:spPr bwMode="gray">
          <a:xfrm>
            <a:off x="8040216" y="3115617"/>
            <a:ext cx="914400" cy="3133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dock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build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19" name="Gerade Verbindung mit Pfeil 14">
            <a:extLst>
              <a:ext uri="{FF2B5EF4-FFF2-40B4-BE49-F238E27FC236}">
                <a16:creationId xmlns:a16="http://schemas.microsoft.com/office/drawing/2014/main" id="{CD112CD9-A871-4538-B714-BB9131178978}"/>
              </a:ext>
            </a:extLst>
          </p:cNvPr>
          <p:cNvCxnSpPr>
            <a:cxnSpLocks/>
            <a:stCxn id="14" idx="3"/>
            <a:endCxn id="8" idx="1"/>
          </p:cNvCxnSpPr>
          <p:nvPr/>
        </p:nvCxnSpPr>
        <p:spPr bwMode="gray">
          <a:xfrm>
            <a:off x="7680176" y="3873225"/>
            <a:ext cx="1728192" cy="1139951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128D219D-459D-486F-9DBC-A2427A6821E4}"/>
              </a:ext>
            </a:extLst>
          </p:cNvPr>
          <p:cNvSpPr txBox="1"/>
          <p:nvPr/>
        </p:nvSpPr>
        <p:spPr bwMode="gray">
          <a:xfrm>
            <a:off x="8133928" y="4220590"/>
            <a:ext cx="914400" cy="3133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helm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nstall</a:t>
            </a:r>
            <a:endParaRPr lang="de-DE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53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80B1C29-60A2-4043-AD89-450961D27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ealth</a:t>
            </a:r>
            <a:r>
              <a:rPr lang="de-DE" dirty="0"/>
              <a:t> </a:t>
            </a:r>
            <a:r>
              <a:rPr lang="de-DE" dirty="0" err="1"/>
              <a:t>endpoint</a:t>
            </a:r>
            <a:endParaRPr lang="de-DE" dirty="0"/>
          </a:p>
          <a:p>
            <a:pPr lvl="1"/>
            <a:r>
              <a:rPr lang="de-DE" dirty="0" err="1"/>
              <a:t>dockerfile</a:t>
            </a:r>
            <a:endParaRPr lang="de-DE" dirty="0"/>
          </a:p>
          <a:p>
            <a:pPr lvl="1"/>
            <a:r>
              <a:rPr lang="de-DE" dirty="0" err="1"/>
              <a:t>helm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gress</a:t>
            </a:r>
            <a:r>
              <a:rPr lang="de-DE" dirty="0"/>
              <a:t> and </a:t>
            </a:r>
            <a:r>
              <a:rPr lang="de-DE" dirty="0" err="1"/>
              <a:t>service</a:t>
            </a:r>
            <a:endParaRPr lang="de-DE" dirty="0"/>
          </a:p>
          <a:p>
            <a:pPr lvl="1"/>
            <a:r>
              <a:rPr lang="de-DE" dirty="0" err="1"/>
              <a:t>run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in </a:t>
            </a:r>
            <a:r>
              <a:rPr lang="de-DE" dirty="0" err="1"/>
              <a:t>kubernetes</a:t>
            </a:r>
            <a:endParaRPr lang="de-DE" dirty="0"/>
          </a:p>
          <a:p>
            <a:pPr lvl="1"/>
            <a:r>
              <a:rPr lang="de-DE" dirty="0" err="1"/>
              <a:t>integrate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and </a:t>
            </a:r>
            <a:r>
              <a:rPr lang="de-DE" dirty="0" err="1"/>
              <a:t>service</a:t>
            </a:r>
            <a:r>
              <a:rPr lang="de-DE" dirty="0"/>
              <a:t> monitor</a:t>
            </a:r>
          </a:p>
          <a:p>
            <a:pPr lvl="1"/>
            <a:r>
              <a:rPr lang="de-DE" dirty="0" err="1"/>
              <a:t>setup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</a:p>
          <a:p>
            <a:pPr lvl="2"/>
            <a:r>
              <a:rPr lang="de-DE" dirty="0" err="1"/>
              <a:t>connection</a:t>
            </a:r>
            <a:endParaRPr lang="de-DE" dirty="0"/>
          </a:p>
          <a:p>
            <a:pPr lvl="2"/>
            <a:r>
              <a:rPr lang="de-DE" dirty="0" err="1"/>
              <a:t>migrations</a:t>
            </a:r>
            <a:endParaRPr lang="de-DE" dirty="0"/>
          </a:p>
          <a:p>
            <a:pPr lvl="2"/>
            <a:r>
              <a:rPr lang="de-DE" dirty="0" err="1"/>
              <a:t>repo</a:t>
            </a:r>
            <a:r>
              <a:rPr lang="de-DE" dirty="0"/>
              <a:t> </a:t>
            </a:r>
            <a:r>
              <a:rPr lang="de-DE" dirty="0" err="1"/>
              <a:t>functions</a:t>
            </a:r>
            <a:endParaRPr lang="de-DE" dirty="0"/>
          </a:p>
          <a:p>
            <a:pPr lvl="2"/>
            <a:r>
              <a:rPr lang="de-DE" dirty="0"/>
              <a:t>REST API</a:t>
            </a:r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8A792D-E246-415F-B868-3E74B89FED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8FDB-C683-41D5-BF3D-78C3D12389A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DF2368-8159-4940-8760-3A45761A57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87857F-7B50-40BC-B1F4-EB7A03C7FF8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95BC36C-75BA-4AF5-ADF4-EAB7102C1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 </a:t>
            </a:r>
            <a:r>
              <a:rPr lang="de-DE" dirty="0" err="1"/>
              <a:t>servi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607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3902-11E9-4604-A25A-87DD319CFE3C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3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96D156A2-8FD4-4FDF-B113-DBCB20D414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DF064-C1FF-4E75-B351-6E9EC2C551E0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45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rste Textebene für Fließtext: Segoe UI, 14pt</a:t>
            </a:r>
          </a:p>
          <a:p>
            <a:pPr lvl="1"/>
            <a:r>
              <a:rPr lang="de-DE" dirty="0"/>
              <a:t>Zweite Textebene für </a:t>
            </a:r>
            <a:r>
              <a:rPr lang="de-DE" dirty="0" err="1"/>
              <a:t>Bulletpoints</a:t>
            </a:r>
            <a:r>
              <a:rPr lang="de-DE" dirty="0"/>
              <a:t>: Segoe UI, 14pt</a:t>
            </a:r>
          </a:p>
          <a:p>
            <a:pPr lvl="2"/>
            <a:r>
              <a:rPr lang="de-DE" dirty="0"/>
              <a:t>Dritte Textebene für </a:t>
            </a:r>
            <a:r>
              <a:rPr lang="de-DE" dirty="0" err="1"/>
              <a:t>Bulletpoints</a:t>
            </a:r>
            <a:r>
              <a:rPr lang="de-DE" dirty="0"/>
              <a:t> zweiter ebene: Segoe UI, 14pt</a:t>
            </a:r>
          </a:p>
          <a:p>
            <a:pPr lvl="3"/>
            <a:r>
              <a:rPr lang="de-DE" dirty="0"/>
              <a:t>Vierte Textebene für </a:t>
            </a:r>
            <a:r>
              <a:rPr lang="de-DE" dirty="0" err="1"/>
              <a:t>Bulletpoints</a:t>
            </a:r>
            <a:r>
              <a:rPr lang="de-DE" dirty="0"/>
              <a:t> dritter Ebene: Segoe UI, 12pt</a:t>
            </a:r>
          </a:p>
          <a:p>
            <a:pPr lvl="4"/>
            <a:r>
              <a:rPr lang="de-DE" dirty="0"/>
              <a:t>Fünfte Textebene für Aufzählungen: Segoe UI, 14pt</a:t>
            </a:r>
          </a:p>
          <a:p>
            <a:pPr lvl="5"/>
            <a:r>
              <a:rPr lang="de-DE" dirty="0"/>
              <a:t>Sechste Textebene für Aufzählungen in zweiter Ebene: Segoe UI, 14pt</a:t>
            </a:r>
          </a:p>
          <a:p>
            <a:pPr lvl="7"/>
            <a:r>
              <a:rPr lang="de-DE" dirty="0"/>
              <a:t>Siebte Textebene für Quellenangaben/Anmerkungen: Segoe UI, 12pt, hellgrau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der Textebenen, </a:t>
            </a:r>
            <a:br>
              <a:rPr lang="de-DE"/>
            </a:br>
            <a:r>
              <a:rPr lang="de-DE"/>
              <a:t>Segoe UI, 20pt, blau</a:t>
            </a:r>
            <a:endParaRPr lang="de-DE" dirty="0"/>
          </a:p>
        </p:txBody>
      </p:sp>
      <p:sp>
        <p:nvSpPr>
          <p:cNvPr id="54" name="Datumsplatzhalter 5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058629E-FACD-49DF-B267-1FCF3764FFF9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55" name="Fußzeilenplatzhalter 5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6" name="Foliennummernplatzhalter 5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Kapitelüberschrift, Segoe UI, 12pt, grau</a:t>
            </a:r>
            <a:endParaRPr lang="de-DE" dirty="0"/>
          </a:p>
        </p:txBody>
      </p:sp>
      <p:sp>
        <p:nvSpPr>
          <p:cNvPr id="12" name="Textplatzhalter 19"/>
          <p:cNvSpPr txBox="1">
            <a:spLocks/>
          </p:cNvSpPr>
          <p:nvPr/>
        </p:nvSpPr>
        <p:spPr bwMode="gray">
          <a:xfrm>
            <a:off x="407194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Information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die Textebenen zu nutzen, verwenden Sie die „Listenebene erhöhen“ oder „Listenebene verringern“ Schaltflächen in der Startleiste:</a:t>
            </a:r>
          </a:p>
          <a:p>
            <a:r>
              <a:rPr lang="de-DE" kern="0" noProof="1">
                <a:solidFill>
                  <a:schemeClr val="tx2"/>
                </a:solidFill>
              </a:rPr>
              <a:t>oder Ihre Tastatur:</a:t>
            </a:r>
            <a:br>
              <a:rPr lang="de-DE" kern="0" noProof="1">
                <a:solidFill>
                  <a:schemeClr val="tx2"/>
                </a:solidFill>
              </a:rPr>
            </a:br>
            <a:r>
              <a:rPr lang="de-DE" kern="0" noProof="1">
                <a:solidFill>
                  <a:schemeClr val="tx2"/>
                </a:solidFill>
              </a:rPr>
              <a:t>ALT+Shift+Links oder Rechts.</a:t>
            </a:r>
          </a:p>
        </p:txBody>
      </p:sp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677092" y="5073610"/>
            <a:ext cx="522703" cy="239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platzhalter 19"/>
          <p:cNvSpPr txBox="1">
            <a:spLocks/>
          </p:cNvSpPr>
          <p:nvPr/>
        </p:nvSpPr>
        <p:spPr bwMode="gray">
          <a:xfrm>
            <a:off x="4294982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Achtung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ein Aufzählungszeichen zu generieren, verwenden Sie bitte ausschließlich die vordefinierten Listenebenen und kreieren Sie diese nicht manuell über die Symbolleiste.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407195" y="3951344"/>
            <a:ext cx="8638869" cy="0"/>
          </a:xfrm>
          <a:prstGeom prst="line">
            <a:avLst/>
          </a:prstGeom>
          <a:ln w="9525">
            <a:solidFill>
              <a:schemeClr val="bg2"/>
            </a:solidFill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11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406401" y="1484313"/>
            <a:ext cx="3598864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51" name="Textplatzhalter 1027"/>
          <p:cNvSpPr>
            <a:spLocks noGrp="1"/>
          </p:cNvSpPr>
          <p:nvPr>
            <p:ph type="body" sz="quarter" idx="22"/>
          </p:nvPr>
        </p:nvSpPr>
        <p:spPr>
          <a:xfrm>
            <a:off x="407987" y="3933825"/>
            <a:ext cx="3600451" cy="2159000"/>
          </a:xfrm>
        </p:spPr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Layouts</a:t>
            </a:r>
          </a:p>
          <a:p>
            <a:r>
              <a:rPr lang="de-DE" dirty="0"/>
              <a:t>Sie können zwischen 18 </a:t>
            </a:r>
            <a:br>
              <a:rPr lang="de-DE" dirty="0"/>
            </a:br>
            <a:r>
              <a:rPr lang="de-DE" dirty="0"/>
              <a:t>verschiedenen Layouts wählen.</a:t>
            </a:r>
          </a:p>
          <a:p>
            <a:r>
              <a:rPr lang="de-DE" dirty="0"/>
              <a:t>Zum Ändern gehen Sie auf </a:t>
            </a:r>
            <a:br>
              <a:rPr lang="de-DE" dirty="0"/>
            </a:br>
            <a:r>
              <a:rPr lang="de-DE" dirty="0"/>
              <a:t>Start &gt; Layout &gt; und wählen </a:t>
            </a:r>
            <a:br>
              <a:rPr lang="de-DE" dirty="0"/>
            </a:br>
            <a:r>
              <a:rPr lang="de-DE" dirty="0"/>
              <a:t>das gewünschte aus.</a:t>
            </a:r>
          </a:p>
          <a:p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r Layouts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B4F5383-CA52-4F6E-85CA-80EDFF909120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38" name="Foliennummernplatzhalter 3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29" name="Textplatzhalter 1028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21" name="Textplatzhalter 19"/>
          <p:cNvSpPr txBox="1">
            <a:spLocks/>
          </p:cNvSpPr>
          <p:nvPr/>
        </p:nvSpPr>
        <p:spPr bwMode="gray">
          <a:xfrm>
            <a:off x="4295775" y="3932237"/>
            <a:ext cx="3599658" cy="2160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Kopf und Fußzeile</a:t>
            </a:r>
          </a:p>
          <a:p>
            <a:r>
              <a:rPr lang="de-DE" sz="1400" dirty="0">
                <a:solidFill>
                  <a:schemeClr val="tx2"/>
                </a:solidFill>
              </a:rPr>
              <a:t>Zum Ändern der Fußzeile: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Einfügen &gt; Kopf- und Fußzeile </a:t>
            </a:r>
          </a:p>
        </p:txBody>
      </p:sp>
      <p:sp>
        <p:nvSpPr>
          <p:cNvPr id="22" name="Textplatzhalter 19"/>
          <p:cNvSpPr txBox="1">
            <a:spLocks/>
          </p:cNvSpPr>
          <p:nvPr/>
        </p:nvSpPr>
        <p:spPr bwMode="gray">
          <a:xfrm>
            <a:off x="8185151" y="3933824"/>
            <a:ext cx="3598862" cy="21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Führungslinien anzeigen</a:t>
            </a:r>
          </a:p>
          <a:p>
            <a:r>
              <a:rPr lang="de-DE" sz="1400" dirty="0">
                <a:solidFill>
                  <a:schemeClr val="tx2"/>
                </a:solidFill>
              </a:rPr>
              <a:t>Aktivieren Sie die Zeichnungslini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über das Menü </a:t>
            </a:r>
            <a:r>
              <a:rPr lang="de-DE" sz="1400" b="1" dirty="0">
                <a:solidFill>
                  <a:schemeClr val="tx2"/>
                </a:solidFill>
              </a:rPr>
              <a:t>„Ansicht“ &gt; 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Anzeigen &gt; Führungslinien.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n den Zeichnungslinien lass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sich Objekte einfacher ausrichten.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Optimieren Sie die Einstellung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(wie im Beispiel zu sehen) über Klick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uf das Auswahlmenü.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4294983" y="1484313"/>
            <a:ext cx="3600450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8185151" y="1484313"/>
            <a:ext cx="3598862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8757071" y="2022549"/>
            <a:ext cx="2447706" cy="1132275"/>
            <a:chOff x="6336196" y="2156460"/>
            <a:chExt cx="2268252" cy="1049020"/>
          </a:xfrm>
        </p:grpSpPr>
        <p:pic>
          <p:nvPicPr>
            <p:cNvPr id="40" name="Picture 5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6"/>
            <a:stretch/>
          </p:blipFill>
          <p:spPr bwMode="gray">
            <a:xfrm>
              <a:off x="7190059" y="2156460"/>
              <a:ext cx="1414389" cy="1028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 bwMode="gray">
            <a:xfrm>
              <a:off x="6336196" y="2610883"/>
              <a:ext cx="780806" cy="573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Rechteck 41"/>
            <p:cNvSpPr/>
            <p:nvPr/>
          </p:nvSpPr>
          <p:spPr>
            <a:xfrm>
              <a:off x="7012536" y="3081340"/>
              <a:ext cx="119706" cy="12414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b="1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8040" y="1804252"/>
            <a:ext cx="2274334" cy="156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B367B93-2173-48A2-8FA9-976A03E61F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8315" y="1572074"/>
            <a:ext cx="1742701" cy="19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3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407988" y="1484312"/>
            <a:ext cx="11376025" cy="4897437"/>
          </a:xfrm>
          <a:prstGeom prst="rect">
            <a:avLst/>
          </a:prstGeom>
          <a:solidFill>
            <a:schemeClr val="bg2"/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</a:rPr>
              <a:t>Bereich für Inhal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s Rasters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BB8C476-96A5-4CF8-8ABE-ACA7592E8F19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 bwMode="gray">
          <a:xfrm>
            <a:off x="0" y="0"/>
            <a:ext cx="12192000" cy="1484307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reich für Titel, Logo und Kapitel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407989" y="6597652"/>
            <a:ext cx="11376024" cy="260346"/>
          </a:xfrm>
          <a:prstGeom prst="rect">
            <a:avLst/>
          </a:prstGeom>
          <a:solidFill>
            <a:srgbClr val="FFFFFF">
              <a:alpha val="6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Bereich für Datum, Fußzeile und Foliennummer</a:t>
            </a: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0680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>
            <a:off x="40084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>
            <a:off x="4295775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>
            <a:off x="59515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>
            <a:off x="6240463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7893484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 bwMode="gray">
          <a:xfrm>
            <a:off x="818515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 bwMode="gray">
          <a:xfrm>
            <a:off x="11783219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/>
          <p:cNvCxnSpPr/>
          <p:nvPr/>
        </p:nvCxnSpPr>
        <p:spPr bwMode="gray">
          <a:xfrm>
            <a:off x="0" y="404814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 bwMode="gray">
          <a:xfrm>
            <a:off x="0" y="1196975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 bwMode="gray">
          <a:xfrm>
            <a:off x="0" y="148272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/>
          <p:nvPr/>
        </p:nvCxnSpPr>
        <p:spPr bwMode="gray">
          <a:xfrm>
            <a:off x="0" y="378936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 bwMode="gray">
          <a:xfrm>
            <a:off x="0" y="407670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/>
          <p:nvPr/>
        </p:nvCxnSpPr>
        <p:spPr bwMode="gray">
          <a:xfrm>
            <a:off x="0" y="63817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/>
          <p:nvPr/>
        </p:nvCxnSpPr>
        <p:spPr bwMode="gray">
          <a:xfrm>
            <a:off x="0" y="65976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08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microservice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ckWin</a:t>
            </a:r>
            <a:r>
              <a:rPr lang="de-DE" dirty="0"/>
              <a:t>: </a:t>
            </a:r>
            <a:r>
              <a:rPr lang="de-DE" dirty="0" err="1"/>
              <a:t>Learn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bi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Jochen Grün (ISO)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4294967295"/>
          </p:nvPr>
        </p:nvSpPr>
        <p:spPr>
          <a:xfrm>
            <a:off x="527783" y="6890599"/>
            <a:ext cx="1009042" cy="260350"/>
          </a:xfrm>
        </p:spPr>
        <p:txBody>
          <a:bodyPr/>
          <a:lstStyle/>
          <a:p>
            <a:fld id="{F855CA7A-64CC-4CEA-BB65-02ED51AF645F}" type="datetime1">
              <a:rPr lang="de-DE" smtClean="0"/>
              <a:t>29.03.2021</a:t>
            </a:fld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4294967295"/>
          </p:nvPr>
        </p:nvSpPr>
        <p:spPr>
          <a:xfrm>
            <a:off x="1536819" y="6890596"/>
            <a:ext cx="6671342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294967295"/>
          </p:nvPr>
        </p:nvSpPr>
        <p:spPr>
          <a:xfrm>
            <a:off x="11180740" y="6890595"/>
            <a:ext cx="480321" cy="260349"/>
          </a:xfrm>
        </p:spPr>
        <p:txBody>
          <a:bodyPr/>
          <a:lstStyle/>
          <a:p>
            <a:fld id="{2066355A-084C-D24E-9AD2-7E4FC41EA62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o </a:t>
            </a:r>
            <a:r>
              <a:rPr lang="de-DE" dirty="0" err="1"/>
              <a:t>introduced</a:t>
            </a:r>
            <a:endParaRPr lang="de-DE" dirty="0"/>
          </a:p>
          <a:p>
            <a:r>
              <a:rPr lang="de-DE" dirty="0"/>
              <a:t>Microservice </a:t>
            </a:r>
            <a:r>
              <a:rPr lang="de-DE" dirty="0" err="1"/>
              <a:t>basics</a:t>
            </a:r>
            <a:endParaRPr lang="de-DE" dirty="0"/>
          </a:p>
          <a:p>
            <a:r>
              <a:rPr lang="de-DE" dirty="0"/>
              <a:t>Implement a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servic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0E726CA-4297-4D5D-BB64-B50431927A1B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52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Wikipedia:</a:t>
            </a:r>
          </a:p>
          <a:p>
            <a:r>
              <a:rPr lang="en-US" i="1" dirty="0"/>
              <a:t>“Go is a </a:t>
            </a:r>
            <a:r>
              <a:rPr lang="en-US" b="1" i="1" dirty="0"/>
              <a:t>statically typed</a:t>
            </a:r>
            <a:r>
              <a:rPr lang="en-US" i="1" dirty="0"/>
              <a:t>, </a:t>
            </a:r>
            <a:r>
              <a:rPr lang="en-US" b="1" i="1" dirty="0"/>
              <a:t>compiled</a:t>
            </a:r>
            <a:r>
              <a:rPr lang="en-US" i="1" dirty="0"/>
              <a:t> programming language designed at Google by Robert </a:t>
            </a:r>
            <a:r>
              <a:rPr lang="en-US" i="1" dirty="0" err="1"/>
              <a:t>Griesemer</a:t>
            </a:r>
            <a:r>
              <a:rPr lang="en-US" i="1" dirty="0"/>
              <a:t>, Rob Pike, and Ken Thompson. Go is syntactically </a:t>
            </a:r>
            <a:r>
              <a:rPr lang="en-US" b="1" i="1" dirty="0"/>
              <a:t>similar to C</a:t>
            </a:r>
            <a:r>
              <a:rPr lang="en-US" i="1" dirty="0"/>
              <a:t>, but with </a:t>
            </a:r>
            <a:r>
              <a:rPr lang="en-US" b="1" i="1" dirty="0"/>
              <a:t>memory safety</a:t>
            </a:r>
            <a:r>
              <a:rPr lang="en-US" i="1" dirty="0"/>
              <a:t>, </a:t>
            </a:r>
            <a:r>
              <a:rPr lang="en-US" b="1" i="1" dirty="0"/>
              <a:t>garbage collection</a:t>
            </a:r>
            <a:r>
              <a:rPr lang="en-US" i="1" dirty="0"/>
              <a:t>, </a:t>
            </a:r>
            <a:r>
              <a:rPr lang="en-US" b="1" i="1" dirty="0"/>
              <a:t>structural typing</a:t>
            </a:r>
            <a:r>
              <a:rPr lang="en-US" i="1" dirty="0"/>
              <a:t>, and </a:t>
            </a:r>
            <a:r>
              <a:rPr lang="en-US" b="1" i="1" dirty="0"/>
              <a:t>CSP-style concurrency</a:t>
            </a:r>
            <a:r>
              <a:rPr lang="en-US" i="1" dirty="0"/>
              <a:t>. The language is often referred to as Golang because of its domain name, golang.org, but the proper name is Go.”</a:t>
            </a:r>
            <a:endParaRPr lang="de-DE" i="1" dirty="0"/>
          </a:p>
          <a:p>
            <a:r>
              <a:rPr lang="de-DE" dirty="0"/>
              <a:t>(CSP = </a:t>
            </a:r>
            <a:r>
              <a:rPr lang="de-DE" dirty="0" err="1"/>
              <a:t>communicating</a:t>
            </a:r>
            <a:r>
              <a:rPr lang="de-DE" dirty="0"/>
              <a:t> </a:t>
            </a:r>
            <a:r>
              <a:rPr lang="de-DE" dirty="0" err="1"/>
              <a:t>sequential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Go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t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apart </a:t>
            </a:r>
            <a:r>
              <a:rPr lang="de-DE" dirty="0" err="1"/>
              <a:t>from</a:t>
            </a:r>
            <a:r>
              <a:rPr lang="de-DE" dirty="0"/>
              <a:t> e.g. .NET and Java</a:t>
            </a:r>
          </a:p>
          <a:p>
            <a:pPr lvl="1"/>
            <a:r>
              <a:rPr lang="de-DE" dirty="0" err="1"/>
              <a:t>compile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native </a:t>
            </a:r>
            <a:r>
              <a:rPr lang="de-DE" dirty="0" err="1"/>
              <a:t>binaries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JVM </a:t>
            </a:r>
            <a:r>
              <a:rPr lang="de-DE" dirty="0" err="1"/>
              <a:t>or</a:t>
            </a:r>
            <a:r>
              <a:rPr lang="de-DE" dirty="0"/>
              <a:t> JIT </a:t>
            </a:r>
            <a:r>
              <a:rPr lang="de-DE" dirty="0" err="1"/>
              <a:t>needed</a:t>
            </a:r>
            <a:endParaRPr lang="de-DE" dirty="0"/>
          </a:p>
          <a:p>
            <a:pPr lvl="1"/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CPU/RAM </a:t>
            </a:r>
            <a:r>
              <a:rPr lang="de-DE" dirty="0" err="1"/>
              <a:t>footprint</a:t>
            </a:r>
            <a:endParaRPr lang="de-DE" dirty="0"/>
          </a:p>
          <a:p>
            <a:pPr lvl="1"/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compil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conven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images</a:t>
            </a:r>
            <a:endParaRPr lang="de-DE" dirty="0"/>
          </a:p>
          <a:p>
            <a:pPr lvl="1"/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in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ecosystem</a:t>
            </a:r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/>
              <a:t>Introducing to you: “Go”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29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20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6A1F346-44FF-4142-A3A4-86B184BE13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1" y="800895"/>
            <a:ext cx="5657850" cy="5686425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677105-0646-443B-991E-5350E5E7F2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BD465D-C5D1-4DEB-A639-C3A7AE4C625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341726-AE8D-48B3-8CA5-AD057FE523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AF2B6C-B770-4E60-BA3A-BFE8F084B1B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F59C516-515A-4AF8-9F69-4CA3558CB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ite a „</a:t>
            </a:r>
            <a:r>
              <a:rPr lang="de-DE" dirty="0" err="1"/>
              <a:t>class</a:t>
            </a:r>
            <a:r>
              <a:rPr lang="de-DE" dirty="0"/>
              <a:t>“ in G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4D1C0C0-E2F3-45E7-9F83-1DCD0AFB7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016" y="2024996"/>
            <a:ext cx="4714875" cy="314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85A0810-21B7-4F31-B88B-4A8FD3389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lements </a:t>
            </a:r>
            <a:r>
              <a:rPr lang="de-DE" dirty="0" err="1"/>
              <a:t>of</a:t>
            </a:r>
            <a:r>
              <a:rPr lang="de-DE" dirty="0"/>
              <a:t> code </a:t>
            </a:r>
            <a:r>
              <a:rPr lang="de-DE" dirty="0" err="1"/>
              <a:t>structure</a:t>
            </a:r>
            <a:endParaRPr lang="de-DE" dirty="0"/>
          </a:p>
          <a:p>
            <a:pPr lvl="1"/>
            <a:r>
              <a:rPr lang="de-DE" b="1" dirty="0" err="1"/>
              <a:t>module</a:t>
            </a:r>
            <a:r>
              <a:rPr lang="de-DE" dirty="0"/>
              <a:t>: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present</a:t>
            </a:r>
            <a:r>
              <a:rPr lang="de-DE" dirty="0"/>
              <a:t> a Go </a:t>
            </a:r>
            <a:r>
              <a:rPr lang="de-DE" dirty="0" err="1"/>
              <a:t>module</a:t>
            </a:r>
            <a:endParaRPr lang="de-DE" dirty="0"/>
          </a:p>
          <a:p>
            <a:pPr lvl="1"/>
            <a:r>
              <a:rPr lang="de-DE" b="1" dirty="0" err="1"/>
              <a:t>package</a:t>
            </a:r>
            <a:r>
              <a:rPr lang="de-DE" b="1" dirty="0"/>
              <a:t>/</a:t>
            </a:r>
            <a:r>
              <a:rPr lang="de-DE" b="1" dirty="0" err="1"/>
              <a:t>imports</a:t>
            </a:r>
            <a:r>
              <a:rPr lang="de-DE" dirty="0"/>
              <a:t>: </a:t>
            </a: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 in a </a:t>
            </a:r>
            <a:r>
              <a:rPr lang="de-DE" dirty="0" err="1"/>
              <a:t>folder</a:t>
            </a:r>
            <a:r>
              <a:rPr lang="de-DE" dirty="0"/>
              <a:t> and </a:t>
            </a:r>
            <a:r>
              <a:rPr lang="de-DE" dirty="0" err="1"/>
              <a:t>import</a:t>
            </a:r>
            <a:r>
              <a:rPr lang="de-DE" dirty="0"/>
              <a:t> in different </a:t>
            </a:r>
            <a:r>
              <a:rPr lang="de-DE" dirty="0" err="1"/>
              <a:t>pack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ame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cross</a:t>
            </a:r>
            <a:r>
              <a:rPr lang="de-DE" dirty="0"/>
              <a:t> </a:t>
            </a:r>
            <a:r>
              <a:rPr lang="de-DE" dirty="0" err="1"/>
              <a:t>modules</a:t>
            </a:r>
            <a:endParaRPr lang="de-DE" dirty="0"/>
          </a:p>
          <a:p>
            <a:pPr lvl="1"/>
            <a:r>
              <a:rPr lang="de-DE" b="1" dirty="0" err="1"/>
              <a:t>struct</a:t>
            </a:r>
            <a:r>
              <a:rPr lang="de-DE" b="1" dirty="0"/>
              <a:t>/interface</a:t>
            </a:r>
            <a:r>
              <a:rPr lang="de-DE" dirty="0"/>
              <a:t>: </a:t>
            </a:r>
            <a:r>
              <a:rPr lang="de-DE" dirty="0" err="1"/>
              <a:t>represen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s</a:t>
            </a:r>
            <a:r>
              <a:rPr lang="de-DE" dirty="0"/>
              <a:t> and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interfa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s</a:t>
            </a:r>
            <a:endParaRPr lang="de-DE" dirty="0"/>
          </a:p>
          <a:p>
            <a:pPr lvl="1"/>
            <a:r>
              <a:rPr lang="de-DE" b="1" dirty="0" err="1"/>
              <a:t>func</a:t>
            </a:r>
            <a:r>
              <a:rPr lang="de-DE" dirty="0"/>
              <a:t>: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ither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struct</a:t>
            </a:r>
            <a:r>
              <a:rPr lang="de-DE" dirty="0"/>
              <a:t>/interface </a:t>
            </a:r>
            <a:r>
              <a:rPr lang="de-DE" dirty="0" err="1"/>
              <a:t>receiver</a:t>
            </a:r>
            <a:endParaRPr lang="de-DE" dirty="0"/>
          </a:p>
          <a:p>
            <a:pPr lvl="1"/>
            <a:r>
              <a:rPr lang="de-DE" b="1" dirty="0" err="1"/>
              <a:t>main</a:t>
            </a:r>
            <a:r>
              <a:rPr lang="de-DE" b="1" dirty="0"/>
              <a:t> </a:t>
            </a:r>
            <a:r>
              <a:rPr lang="de-DE" b="1" dirty="0" err="1"/>
              <a:t>func</a:t>
            </a:r>
            <a:r>
              <a:rPr lang="de-DE" dirty="0"/>
              <a:t>: 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rves</a:t>
            </a:r>
            <a:r>
              <a:rPr lang="de-DE" dirty="0"/>
              <a:t> </a:t>
            </a:r>
            <a:r>
              <a:rPr lang="de-DE" dirty="0" err="1"/>
              <a:t>entrypoin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Go </a:t>
            </a:r>
            <a:r>
              <a:rPr lang="de-DE" dirty="0" err="1"/>
              <a:t>app</a:t>
            </a:r>
            <a:r>
              <a:rPr lang="de-DE" dirty="0"/>
              <a:t> (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located</a:t>
            </a:r>
            <a:r>
              <a:rPr lang="de-DE" dirty="0"/>
              <a:t> in a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)</a:t>
            </a:r>
            <a:endParaRPr lang="de-DE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E374A8-7C1A-43BB-829E-C015FAF64D8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0BDEF1-A426-4171-8758-1DE90ADCB99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4CCA23-D87C-462C-A89C-F817362B918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27869-C46B-4886-8770-A83CEE438F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C1F98F7-1E5F-405D-8EB9-2A53AD6F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code </a:t>
            </a:r>
            <a:r>
              <a:rPr lang="de-DE" dirty="0" err="1"/>
              <a:t>stru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800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3F5A86-F022-4C21-9E1B-20FFE2EE76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0" lvl="1" indent="0">
              <a:buNone/>
            </a:pPr>
            <a:endParaRPr lang="de-DE" dirty="0"/>
          </a:p>
          <a:p>
            <a:pPr lvl="1"/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ackages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  <a:p>
            <a:pPr lvl="1"/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Go </a:t>
            </a:r>
            <a:r>
              <a:rPr lang="de-DE" dirty="0" err="1"/>
              <a:t>module</a:t>
            </a:r>
            <a:r>
              <a:rPr lang="de-DE" dirty="0"/>
              <a:t>, </a:t>
            </a:r>
            <a:r>
              <a:rPr lang="de-DE" dirty="0" err="1"/>
              <a:t>declared</a:t>
            </a:r>
            <a:r>
              <a:rPr lang="de-DE" dirty="0"/>
              <a:t> via a </a:t>
            </a:r>
            <a:r>
              <a:rPr lang="de-DE" i="1" dirty="0"/>
              <a:t>go.mod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1"/>
            <a:r>
              <a:rPr lang="de-DE" dirty="0" err="1"/>
              <a:t>modules</a:t>
            </a:r>
            <a:r>
              <a:rPr lang="de-DE" dirty="0"/>
              <a:t> in Go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„</a:t>
            </a:r>
            <a:r>
              <a:rPr lang="de-DE" dirty="0" err="1"/>
              <a:t>directly</a:t>
            </a:r>
            <a:r>
              <a:rPr lang="de-DE" dirty="0"/>
              <a:t>“ via </a:t>
            </a:r>
            <a:r>
              <a:rPr lang="de-DE" dirty="0" err="1"/>
              <a:t>the</a:t>
            </a:r>
            <a:r>
              <a:rPr lang="de-DE" dirty="0"/>
              <a:t> VCS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a Go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compiler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ownload</a:t>
            </a:r>
            <a:r>
              <a:rPr lang="de-DE" dirty="0"/>
              <a:t> all </a:t>
            </a:r>
            <a:r>
              <a:rPr lang="de-DE" dirty="0" err="1"/>
              <a:t>modules</a:t>
            </a:r>
            <a:r>
              <a:rPr lang="de-DE" dirty="0"/>
              <a:t> source code </a:t>
            </a:r>
            <a:r>
              <a:rPr lang="de-DE" dirty="0" err="1"/>
              <a:t>o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machine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41F524-D7C4-47B8-BDCF-33D33D47CD1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65E6E-9522-48C3-B513-40AD9E5E853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4F350D-BA41-4FF2-BCAC-4588574D488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239710-C6F5-42B7-9F9E-0DD0F8CE2C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2F15420-2F83-422D-92CF-44D0793F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Modules</a:t>
            </a:r>
          </a:p>
        </p:txBody>
      </p:sp>
    </p:spTree>
    <p:extLst>
      <p:ext uri="{BB962C8B-B14F-4D97-AF65-F5344CB8AC3E}">
        <p14:creationId xmlns:p14="http://schemas.microsoft.com/office/powerpoint/2010/main" val="93898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3208DC2-F530-4691-9476-F2E42EA017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/>
              <a:t>a </a:t>
            </a:r>
            <a:r>
              <a:rPr lang="de-DE" dirty="0" err="1"/>
              <a:t>stru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C </a:t>
            </a:r>
            <a:r>
              <a:rPr lang="de-DE" dirty="0" err="1"/>
              <a:t>struct</a:t>
            </a:r>
            <a:r>
              <a:rPr lang="de-DE" dirty="0"/>
              <a:t>: </a:t>
            </a:r>
            <a:r>
              <a:rPr lang="de-DE" dirty="0" err="1"/>
              <a:t>memory</a:t>
            </a:r>
            <a:r>
              <a:rPr lang="de-DE" dirty="0"/>
              <a:t> block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xed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amed</a:t>
            </a:r>
            <a:r>
              <a:rPr lang="de-DE" dirty="0"/>
              <a:t> </a:t>
            </a:r>
            <a:r>
              <a:rPr lang="de-DE" dirty="0" err="1"/>
              <a:t>fields</a:t>
            </a:r>
            <a:endParaRPr lang="de-DE" dirty="0"/>
          </a:p>
          <a:p>
            <a:pPr lvl="1"/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attach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ructs</a:t>
            </a:r>
            <a:r>
              <a:rPr lang="de-DE" dirty="0"/>
              <a:t> via </a:t>
            </a:r>
            <a:r>
              <a:rPr lang="de-DE" dirty="0" err="1"/>
              <a:t>receivers</a:t>
            </a:r>
            <a:r>
              <a:rPr lang="de-DE" dirty="0"/>
              <a:t> (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like)</a:t>
            </a:r>
          </a:p>
          <a:p>
            <a:pPr lvl="1"/>
            <a:r>
              <a:rPr lang="de-DE" dirty="0" err="1"/>
              <a:t>lowercase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letter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a </a:t>
            </a:r>
            <a:r>
              <a:rPr lang="de-DE" dirty="0" err="1"/>
              <a:t>property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 internal (</a:t>
            </a:r>
            <a:r>
              <a:rPr lang="de-DE" dirty="0" err="1"/>
              <a:t>reflection</a:t>
            </a:r>
            <a:r>
              <a:rPr lang="de-DE" dirty="0"/>
              <a:t> will not </a:t>
            </a:r>
            <a:r>
              <a:rPr lang="de-DE" dirty="0" err="1"/>
              <a:t>work</a:t>
            </a:r>
            <a:r>
              <a:rPr lang="de-DE" dirty="0"/>
              <a:t>, e.g. on tags)</a:t>
            </a:r>
          </a:p>
          <a:p>
            <a:pPr lvl="1"/>
            <a:r>
              <a:rPr lang="de-DE" dirty="0" err="1"/>
              <a:t>uppercase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letter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property</a:t>
            </a:r>
            <a:r>
              <a:rPr lang="de-DE" dirty="0"/>
              <a:t> visible outside </a:t>
            </a:r>
            <a:r>
              <a:rPr lang="de-DE" dirty="0" err="1"/>
              <a:t>package</a:t>
            </a:r>
            <a:r>
              <a:rPr lang="de-DE" dirty="0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EBC5BF-671D-4EA8-8245-A3308A32992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7DFC5B-DF21-4855-94BC-4CACAE702E1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1ABE4D-78C9-4DE3-BB99-689A809DAA6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8B71ED7-D7C6-4561-BE05-565FF9BF8C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5C35AED-8839-4A0E-A8C2-BF8A4BC9BD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</a:t>
            </a:r>
            <a:r>
              <a:rPr lang="de-DE" dirty="0" err="1"/>
              <a:t>Stru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64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3208DC2-F530-4691-9476-F2E42EA017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laced</a:t>
            </a:r>
            <a:r>
              <a:rPr lang="de-DE" dirty="0"/>
              <a:t> </a:t>
            </a:r>
            <a:r>
              <a:rPr lang="de-DE" dirty="0" err="1"/>
              <a:t>side-by-sid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de </a:t>
            </a:r>
            <a:r>
              <a:rPr lang="de-DE" dirty="0" err="1"/>
              <a:t>files</a:t>
            </a:r>
            <a:endParaRPr lang="de-DE" dirty="0"/>
          </a:p>
          <a:p>
            <a:pPr lvl="1"/>
            <a:r>
              <a:rPr lang="de-DE" dirty="0"/>
              <a:t>simple </a:t>
            </a:r>
            <a:r>
              <a:rPr lang="de-DE" dirty="0" err="1"/>
              <a:t>naming</a:t>
            </a:r>
            <a:r>
              <a:rPr lang="de-DE" dirty="0"/>
              <a:t> </a:t>
            </a:r>
            <a:r>
              <a:rPr lang="de-DE" dirty="0" err="1"/>
              <a:t>convention</a:t>
            </a:r>
            <a:endParaRPr lang="de-DE" dirty="0"/>
          </a:p>
          <a:p>
            <a:pPr lvl="2"/>
            <a:r>
              <a:rPr lang="de-DE" dirty="0"/>
              <a:t>all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*_</a:t>
            </a:r>
            <a:r>
              <a:rPr lang="de-DE" dirty="0" err="1"/>
              <a:t>test.go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gard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files</a:t>
            </a:r>
            <a:endParaRPr lang="de-DE" dirty="0"/>
          </a:p>
          <a:p>
            <a:pPr lvl="2"/>
            <a:r>
              <a:rPr lang="de-DE" dirty="0"/>
              <a:t>all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Test…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gard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pPr lvl="1"/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receives</a:t>
            </a:r>
            <a:r>
              <a:rPr lang="de-DE" dirty="0"/>
              <a:t> a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ameter</a:t>
            </a:r>
            <a:endParaRPr lang="de-DE" dirty="0"/>
          </a:p>
          <a:p>
            <a:pPr lvl="1"/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gging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riting</a:t>
            </a:r>
            <a:r>
              <a:rPr lang="de-DE" dirty="0"/>
              <a:t> </a:t>
            </a:r>
            <a:r>
              <a:rPr lang="de-DE" dirty="0" err="1"/>
              <a:t>asserts</a:t>
            </a:r>
            <a:endParaRPr lang="de-DE" dirty="0"/>
          </a:p>
          <a:p>
            <a:pPr lvl="1"/>
            <a:r>
              <a:rPr lang="de-DE" dirty="0" err="1"/>
              <a:t>test</a:t>
            </a:r>
            <a:r>
              <a:rPr lang="de-DE" dirty="0"/>
              <a:t> code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compil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executable</a:t>
            </a:r>
            <a:r>
              <a:rPr lang="de-DE" dirty="0"/>
              <a:t> </a:t>
            </a:r>
            <a:r>
              <a:rPr lang="de-DE" dirty="0" err="1"/>
              <a:t>binaries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EBC5BF-671D-4EA8-8245-A3308A32992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29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7DFC5B-DF21-4855-94BC-4CACAE702E1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1ABE4D-78C9-4DE3-BB99-689A809DAA6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8B71ED7-D7C6-4561-BE05-565FF9BF8C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5C35AED-8839-4A0E-A8C2-BF8A4BC9BD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Unit </a:t>
            </a:r>
            <a:r>
              <a:rPr lang="de-DE" dirty="0" err="1"/>
              <a:t>Testing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481313-A05D-4A33-888C-3B769C8AAE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288" y="1614490"/>
            <a:ext cx="348615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3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ddd969b99f4de63d55cbadae081c666c3411ba"/>
  <p:tag name="FINNOVA_CATEGORY" val="No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 PowerPoint Template 2017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HP_Template_2018_16-9_DE_08_EXP" id="{E33D701B-B5D0-4F7E-A25A-EE1CA49B9468}" vid="{49FD3652-60DB-4E15-A215-3365BCE38AC5}"/>
    </a:ext>
  </a:extLst>
</a:theme>
</file>

<file path=ppt/theme/theme2.xml><?xml version="1.0" encoding="utf-8"?>
<a:theme xmlns:a="http://schemas.openxmlformats.org/drawingml/2006/main" name="Larissa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0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0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HP_Template_2018_16-9_DE_08</Template>
  <TotalTime>0</TotalTime>
  <Words>1207</Words>
  <Application>Microsoft Office PowerPoint</Application>
  <PresentationFormat>Breitbild</PresentationFormat>
  <Paragraphs>187</Paragraphs>
  <Slides>19</Slides>
  <Notes>11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Segoe UI</vt:lpstr>
      <vt:lpstr>Symbol</vt:lpstr>
      <vt:lpstr>Wingdings</vt:lpstr>
      <vt:lpstr>MHP PowerPoint Template 2017</vt:lpstr>
      <vt:lpstr>think-cell Folie</vt:lpstr>
      <vt:lpstr>PowerPoint-Präsentation</vt:lpstr>
      <vt:lpstr>QuickWin: Learn a little bit of GO</vt:lpstr>
      <vt:lpstr>Agenda</vt:lpstr>
      <vt:lpstr>Introducing to you: “Go”</vt:lpstr>
      <vt:lpstr>Write a „class“ in Go</vt:lpstr>
      <vt:lpstr>Go code structure</vt:lpstr>
      <vt:lpstr>Go Modules</vt:lpstr>
      <vt:lpstr>Go Structs</vt:lpstr>
      <vt:lpstr>Go Unit Testing</vt:lpstr>
      <vt:lpstr>Whats a microservice anyhow?</vt:lpstr>
      <vt:lpstr>Microservice tech guidelines</vt:lpstr>
      <vt:lpstr>Microservice Features</vt:lpstr>
      <vt:lpstr>Setup Dev Environment</vt:lpstr>
      <vt:lpstr>Implement service</vt:lpstr>
      <vt:lpstr>PowerPoint-Präsentation</vt:lpstr>
      <vt:lpstr>PowerPoint-Präsentation</vt:lpstr>
      <vt:lpstr>Erklärung der Textebenen,  Segoe UI, 20pt, blau</vt:lpstr>
      <vt:lpstr>Erklärung  der Layouts</vt:lpstr>
      <vt:lpstr>Erklärung  des Rasters</vt:lpstr>
    </vt:vector>
  </TitlesOfParts>
  <Company>Mieschke Hofmann und Part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chen Grün (ISO)</dc:creator>
  <cp:lastModifiedBy>Jochen Grün (ISO)</cp:lastModifiedBy>
  <cp:revision>1</cp:revision>
  <cp:lastPrinted>2016-01-13T10:07:22Z</cp:lastPrinted>
  <dcterms:created xsi:type="dcterms:W3CDTF">2021-03-09T08:14:01Z</dcterms:created>
  <dcterms:modified xsi:type="dcterms:W3CDTF">2021-03-29T12:38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